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72" r:id="rId6"/>
    <p:sldMasterId id="2147483686" r:id="rId7"/>
    <p:sldMasterId id="2147483698" r:id="rId8"/>
    <p:sldMasterId id="2147483724" r:id="rId9"/>
    <p:sldMasterId id="2147483743" r:id="rId10"/>
    <p:sldMasterId id="2147483759" r:id="rId11"/>
  </p:sldMasterIdLst>
  <p:notesMasterIdLst>
    <p:notesMasterId r:id="rId32"/>
  </p:notesMasterIdLst>
  <p:sldIdLst>
    <p:sldId id="1527" r:id="rId12"/>
    <p:sldId id="1692" r:id="rId13"/>
    <p:sldId id="1763" r:id="rId14"/>
    <p:sldId id="1711" r:id="rId15"/>
    <p:sldId id="1748" r:id="rId16"/>
    <p:sldId id="1760" r:id="rId17"/>
    <p:sldId id="1422" r:id="rId18"/>
    <p:sldId id="1693" r:id="rId19"/>
    <p:sldId id="1745" r:id="rId20"/>
    <p:sldId id="1645" r:id="rId21"/>
    <p:sldId id="1768" r:id="rId22"/>
    <p:sldId id="1771" r:id="rId23"/>
    <p:sldId id="1770" r:id="rId24"/>
    <p:sldId id="1774" r:id="rId25"/>
    <p:sldId id="1772" r:id="rId26"/>
    <p:sldId id="1775" r:id="rId27"/>
    <p:sldId id="1699" r:id="rId28"/>
    <p:sldId id="1567" r:id="rId29"/>
    <p:sldId id="1765" r:id="rId30"/>
    <p:sldId id="1730" r:id="rId31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xtual Considerations" id="{72EAC09B-1E49-4195-A600-B211CC45AAF4}">
          <p14:sldIdLst>
            <p14:sldId id="1527"/>
            <p14:sldId id="1692"/>
            <p14:sldId id="1763"/>
            <p14:sldId id="1711"/>
            <p14:sldId id="1748"/>
            <p14:sldId id="1760"/>
            <p14:sldId id="1422"/>
            <p14:sldId id="1693"/>
            <p14:sldId id="1745"/>
            <p14:sldId id="1645"/>
            <p14:sldId id="1768"/>
            <p14:sldId id="1771"/>
            <p14:sldId id="1770"/>
            <p14:sldId id="1774"/>
            <p14:sldId id="1772"/>
            <p14:sldId id="1775"/>
            <p14:sldId id="1699"/>
            <p14:sldId id="1567"/>
            <p14:sldId id="1765"/>
            <p14:sldId id="1730"/>
          </p14:sldIdLst>
        </p14:section>
        <p14:section name="Annex 1: Core Areas" id="{8A0A7221-C0BD-497C-BED5-BF1D39291B8E}">
          <p14:sldIdLst/>
        </p14:section>
        <p14:section name="Annex 2: Contextual Considerations" id="{62B53F9B-0DFB-433A-963A-576B65F1BC21}">
          <p14:sldIdLst/>
        </p14:section>
        <p14:section name="Back-up" id="{D52A464D-DDE4-475E-9324-1EBBEC292A17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nita Kuntawala" initials="HK" lastIdx="16" clrIdx="0">
    <p:extLst>
      <p:ext uri="{19B8F6BF-5375-455C-9EA6-DF929625EA0E}">
        <p15:presenceInfo xmlns:p15="http://schemas.microsoft.com/office/powerpoint/2012/main" userId="S::Henita.Kuntawala@theglobalfund.org::c19b7401-0672-4c8f-98c6-d24df1b27d40" providerId="AD"/>
      </p:ext>
    </p:extLst>
  </p:cmAuthor>
  <p:cmAuthor id="2" name="Amal Sadozai" initials="AS" lastIdx="33" clrIdx="1">
    <p:extLst>
      <p:ext uri="{19B8F6BF-5375-455C-9EA6-DF929625EA0E}">
        <p15:presenceInfo xmlns:p15="http://schemas.microsoft.com/office/powerpoint/2012/main" userId="S::Amal.Sadozai@theglobalfund.org::df71ec0d-8b10-4487-831c-8ad617f3b278" providerId="AD"/>
      </p:ext>
    </p:extLst>
  </p:cmAuthor>
  <p:cmAuthor id="3" name="Grainne McDaid" initials="GM" lastIdx="8" clrIdx="2">
    <p:extLst>
      <p:ext uri="{19B8F6BF-5375-455C-9EA6-DF929625EA0E}">
        <p15:presenceInfo xmlns:p15="http://schemas.microsoft.com/office/powerpoint/2012/main" userId="S::Grainne.McDaid@theglobalfund.org::e9fc066a-7b83-4300-813f-8fdaae8a8d72" providerId="AD"/>
      </p:ext>
    </p:extLst>
  </p:cmAuthor>
  <p:cmAuthor id="4" name="Deepanjali Sapkota" initials="DS" lastIdx="1" clrIdx="3">
    <p:extLst>
      <p:ext uri="{19B8F6BF-5375-455C-9EA6-DF929625EA0E}">
        <p15:presenceInfo xmlns:p15="http://schemas.microsoft.com/office/powerpoint/2012/main" userId="S::Deepanjali.Sapkota@theglobalfund.org::2ac5a1ce-5a04-4cb8-b7c4-6508152824a1" providerId="AD"/>
      </p:ext>
    </p:extLst>
  </p:cmAuthor>
  <p:cmAuthor id="5" name="Mercedes Garcia" initials="MG" lastIdx="2" clrIdx="4">
    <p:extLst>
      <p:ext uri="{19B8F6BF-5375-455C-9EA6-DF929625EA0E}">
        <p15:presenceInfo xmlns:p15="http://schemas.microsoft.com/office/powerpoint/2012/main" userId="S::Mercedes.Garcia@theglobalfund.org::0812cea9-28a1-4b77-92de-807042ad9e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95B3D7"/>
    <a:srgbClr val="FFFFCC"/>
    <a:srgbClr val="003F72"/>
    <a:srgbClr val="1D5582"/>
    <a:srgbClr val="E6E6E6"/>
    <a:srgbClr val="151A21"/>
    <a:srgbClr val="6B82A1"/>
    <a:srgbClr val="7388A5"/>
    <a:srgbClr val="6268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83" autoAdjust="0"/>
    <p:restoredTop sz="84203" autoAdjust="0"/>
  </p:normalViewPr>
  <p:slideViewPr>
    <p:cSldViewPr snapToGrid="0">
      <p:cViewPr varScale="1">
        <p:scale>
          <a:sx n="106" d="100"/>
          <a:sy n="106" d="100"/>
        </p:scale>
        <p:origin x="496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nataladavidenko/Desktop/KZ%20tool/prev%20draft%20KZ%20CCM%20Evolution%20Threshold%20Tool_02122021_ENGLISH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450717110158143E-2"/>
          <c:y val="3.9538720120733194E-2"/>
          <c:w val="0.91465093333174319"/>
          <c:h val="0.9185008131511387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95-0C4F-B203-CD3DA13E4520}"/>
              </c:ext>
            </c:extLst>
          </c:dPt>
          <c:dPt>
            <c:idx val="1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95-0C4F-B203-CD3DA13E452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795-0C4F-B203-CD3DA13E4520}"/>
              </c:ext>
            </c:extLst>
          </c:dPt>
          <c:dLbls>
            <c:dLbl>
              <c:idx val="0"/>
              <c:layout>
                <c:manualLayout>
                  <c:x val="-1.241529129841560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795-0C4F-B203-CD3DA13E4520}"/>
                </c:ext>
              </c:extLst>
            </c:dLbl>
            <c:dLbl>
              <c:idx val="1"/>
              <c:layout>
                <c:manualLayout>
                  <c:x val="-1.2415291298415604E-3"/>
                  <c:y val="-2.47117000754582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795-0C4F-B203-CD3DA13E4520}"/>
                </c:ext>
              </c:extLst>
            </c:dLbl>
            <c:dLbl>
              <c:idx val="2"/>
              <c:layout>
                <c:manualLayout>
                  <c:x val="2.4830582596831207E-3"/>
                  <c:y val="-4.84389804607257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795-0C4F-B203-CD3DA13E4520}"/>
                </c:ext>
              </c:extLst>
            </c:dLbl>
            <c:dLbl>
              <c:idx val="3"/>
              <c:layout>
                <c:manualLayout>
                  <c:x val="-2.4830582596831207E-3"/>
                  <c:y val="-9.88468003018331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795-0C4F-B203-CD3DA13E45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cores!$D$34:$D$37</c:f>
              <c:strCache>
                <c:ptCount val="4"/>
                <c:pt idx="0">
                  <c:v>Oversight</c:v>
                </c:pt>
                <c:pt idx="1">
                  <c:v>Engagement</c:v>
                </c:pt>
                <c:pt idx="2">
                  <c:v>Positioning</c:v>
                </c:pt>
                <c:pt idx="3">
                  <c:v>Operations</c:v>
                </c:pt>
              </c:strCache>
            </c:strRef>
          </c:cat>
          <c:val>
            <c:numRef>
              <c:f>Scores!$E$34:$E$37</c:f>
              <c:numCache>
                <c:formatCode>0%</c:formatCode>
                <c:ptCount val="4"/>
                <c:pt idx="0">
                  <c:v>0.83333333333333337</c:v>
                </c:pt>
                <c:pt idx="1">
                  <c:v>0.75</c:v>
                </c:pt>
                <c:pt idx="2">
                  <c:v>0.5</c:v>
                </c:pt>
                <c:pt idx="3">
                  <c:v>0.916666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795-0C4F-B203-CD3DA13E45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69063744"/>
        <c:axId val="869069976"/>
      </c:barChart>
      <c:catAx>
        <c:axId val="8690637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69069976"/>
        <c:crosses val="autoZero"/>
        <c:auto val="1"/>
        <c:lblAlgn val="ctr"/>
        <c:lblOffset val="100"/>
        <c:noMultiLvlLbl val="0"/>
      </c:catAx>
      <c:valAx>
        <c:axId val="869069976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69063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EB6215-16BD-42AE-A38A-08DE1BA8E445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8AF11-8E1F-4229-A08B-D6F4198D71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8211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DA00EE-2A66-49B0-978D-29FBD6B0C7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5866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0654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9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7231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42C8C0-0CE7-4A80-A1F3-BFBD662A13DC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55553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имечания для консультанта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Заполните этот раздел с общей картиной всех областей, поскольку даже в областях, не являющихся приоритетными, с ними будут связаны важные мероприятия.</a:t>
            </a:r>
            <a:r>
              <a:rPr lang="en-US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росто потому, что какая-то область не является приоритетной, это не означает, что она не будет иметь связанных с ней мероприятий, над которыми работает СКК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4992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9909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7269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784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360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8AF11-8E1F-4229-A08B-D6F4198D71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711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7CB2A4-10EB-4271-AABC-84E41692E7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80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497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Инструкции</a:t>
            </a:r>
            <a:r>
              <a:rPr lang="ru-RU" dirty="0"/>
              <a:t> для консультанта</a:t>
            </a:r>
            <a:r>
              <a:rPr lang="en-US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Адаптируйте временную шкалу к каждому этапу и каждому СКК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  <a:p>
            <a:pPr marL="0" indent="0">
              <a:buFont typeface="Arial" panose="020B0604020202020204" pitchFamily="34" charset="0"/>
              <a:buNone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8616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b="0" kern="1200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570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5936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08AF11-8E1F-4229-A08B-D6F4198D719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42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732" y="1"/>
            <a:ext cx="11751735" cy="462656"/>
          </a:xfrm>
        </p:spPr>
        <p:txBody>
          <a:bodyPr>
            <a:normAutofit/>
          </a:bodyPr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4732" y="478985"/>
            <a:ext cx="11751736" cy="5280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70998" y="6420409"/>
            <a:ext cx="2844800" cy="365125"/>
          </a:xfrm>
        </p:spPr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13599" y="1016058"/>
            <a:ext cx="11539733" cy="53593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55293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297416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319172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48048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313562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27135199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33466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62375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033355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73622256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193403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072414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03360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5E9F9-74FC-4984-B0E7-1BF07FAC5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B7F7D4-1932-4A03-9583-F961FA86F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0A76ED-0D73-478D-9C7D-1E9957830D34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5/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BF97BF-94AC-4525-B645-32A5C537F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78B1D6-AD52-47B0-AA6A-9AC9B054A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1BFCC-55BC-40F4-8FA6-904A99D9D7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42384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19BF6-C889-43DB-A7D1-136E4F5A40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893152-CF0E-4902-808D-0985B09348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A53518-A911-4ECD-BA20-0D6FB8B69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273E8-E550-489E-A05A-18A19058B7DF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C34EB3-D8DB-4849-A79B-1B7B9F7D4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6F138-A3AA-4EC2-AE08-CEE88589F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645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653A3-1516-4C07-9523-8C44B2658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67F0B4-3E29-4CB9-9B78-DAFFB475F7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4D75FF-3775-4102-8E38-85754A08F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2BFF5-088D-4944-B01E-56A387FDA94A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3C6570-9504-498C-AF50-05EC3F733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C3F560-9D7D-49B7-B16C-333EA7182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7182" y="6425623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696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D005A-5CAA-4A25-9EA4-C1717E22B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4218EE-EC98-4AFC-8FC6-B94D9ECAE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51B094-68A4-4DAC-837D-5D4958E6B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4777B-9EBA-453F-8606-CC43D2F83479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0F0F5A-A660-4407-9AD9-32AB7E44B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12AADA-D2F5-4A97-9427-34A2639419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4371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01FA1-F125-4C6B-8DC2-A18B9AA93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E81676-BF87-4A11-84AA-F262832A0D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239B98-B3CA-4D54-ACA7-910B36DEE8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222CC8-F7FE-4DB2-92D9-AB89ACC9A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E1AB2-0082-4810-87A3-71104E1B3292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71E7A9-6F6E-4E56-BF21-0350EC7AC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FAE660-508F-48FF-8272-DEF13C1E8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2691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00A06-4F4D-478A-89BA-C16A30D25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DFD0FC-7117-4A42-8140-A999D70246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AEBA71-466D-47C5-93F9-83CC5BC34D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0A4162-47AB-4AA4-ADC9-B797FE740E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C6149FF-A17D-4ECC-9008-F354F731BF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79C748-CF01-478B-859E-839419878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CC75F-3220-4004-921E-E1B0107350BD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56FBB8-FB44-4BA5-BC3F-4DDAF255AA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5D3829-C3B9-40CF-8FF7-D78A31679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253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2110E-7824-4A02-BED4-39EAA50F9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FD923A-332E-40B6-8C78-0815E59F1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A69D6-244B-493E-9D66-A08EEEBEA88D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FD2CCF-1ABA-457B-A12A-2343E793D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DAE63A-73AF-4562-8903-F01CA6DA9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2716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1B95E4-5589-4482-AC37-01E91C833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473AB-CBF5-4FCE-B82C-C42F335F1C82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7D536E-2D36-40B9-881F-3FB2CF016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5EDB7-0B1B-4002-BD51-BF1FE3530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695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AECB0-2756-4986-AFFC-F407CFEDE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6DC792-FAD5-45AC-BC03-4ACB6FBFD2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40B0E-051A-411B-A5F5-1C29CE08C8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6D0BFE-3F9C-4BD5-BFD1-4A75A6489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5F5A-CDA8-4F25-8E96-349C5C8148BF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F934E8-2028-429A-B261-00BC9EEFB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DCC608-B585-4F2B-BA3B-D7AECB374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7282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2D18A-F3F8-429B-B8D5-3C3887752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AAAB8D-5B96-4447-A1BD-8309FFF2E2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D26F9E-68D9-4EC8-949B-65D918AB84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4E23EB-9AE4-499F-9AD0-F5784B794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F2A65-5F69-41A1-A6DB-3A20454A5945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E1C98D-4048-4645-BA9B-37A0EE25D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4132DC-F262-4528-A06C-CD8CF53AAE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0601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42B77-2D90-4956-8D02-18145B22B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CFF13B7-4326-4B79-B5C4-8CE582327E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4560B2-8D9D-495A-ADBE-7A5FC6CDF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6C47E2-E6C6-4ACA-8F93-784010B4B830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ADCC38-66EE-46AD-8BAB-5DD4719C8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14C2DB-3F60-45F9-A7DB-B7CC21A52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8755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FECEF3-7457-46EE-A031-31CB648ACD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160EBE-F32F-433F-8431-39E34CFC0E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5119D-ADEA-4E1F-918E-001A42CFE5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B7BB28-02C9-4806-9179-DEFA328F7655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39807-CC6B-4C46-AE44-E892A416D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FEAD6-043B-4BB8-B4E8-64152F76E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4100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529117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948873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64028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898890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200060363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907760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01264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278057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37943462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167144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767463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5944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69143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48564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186248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214488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332311355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670580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51018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840559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126303163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96378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26509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9995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088855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61609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991670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1230259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227496030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517649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7275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742212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20972300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216496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312658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56497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516031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293988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017078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860993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55610913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564481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86670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587887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</a:t>
            </a:r>
            <a:r>
              <a:rPr lang="en-US" dirty="0" err="1"/>
              <a:t>Templafy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343796841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80596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639578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27258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5E9F9-74FC-4984-B0E7-1BF07FAC5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B7F7D4-1932-4A03-9583-F961FA86F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A76ED-0D73-478D-9C7D-1E9957830D3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BF97BF-94AC-4525-B645-32A5C537F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78B1D6-AD52-47B0-AA6A-9AC9B054A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81BFCC-55BC-40F4-8FA6-904A99D9D7C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4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152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758" r:id="rId1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0C69AC-1AC6-4E12-8A16-354C22E5F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B7A154-6014-4F65-9E7D-A6E172610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41197F-04E0-4258-AE13-1291585473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8564" y="63194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645FE9-B200-403C-B0E3-5DD7520FA7A4}" type="datetime1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92FD79-9FA4-432B-8874-7BD942AAD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E352C1-356B-454E-AD5F-0BD17AB7DC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0236" y="63534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2429C8-3C94-4618-8712-4F46E0044B74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3FFCE2-4633-4136-86B4-9C5C6E363D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858" t="36707" r="4201" b="10116"/>
          <a:stretch/>
        </p:blipFill>
        <p:spPr>
          <a:xfrm>
            <a:off x="230909" y="6423457"/>
            <a:ext cx="1214582" cy="157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868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837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599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099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61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3" r:id="rId1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globalfund.org/media/9589/ccm_ethicsfocalpointethicscommittee_guidelines_en.pdf?u=637319005101970000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26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3.xml"/><Relationship Id="rId10" Type="http://schemas.openxmlformats.org/officeDocument/2006/relationships/hyperlink" Target="https://theglobalfund.csod.com/catalog/CustomPage.aspx?id=221000343" TargetMode="External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www.theglobalfund.org/en/country-coordinating-mechanism/ethics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theglobalfund.org/en/country-coordinating-mechanism/evolution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4XPKLXZw7yw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AE7BA7B-C1EF-46A1-9F9B-04C4A9946E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4703" y="2930897"/>
            <a:ext cx="10644809" cy="1296000"/>
          </a:xfrm>
        </p:spPr>
        <p:txBody>
          <a:bodyPr/>
          <a:lstStyle/>
          <a:p>
            <a:r>
              <a:rPr lang="ru-RU" dirty="0"/>
              <a:t>Вводный курс</a:t>
            </a:r>
            <a:r>
              <a:rPr lang="en-US" dirty="0"/>
              <a:t>: </a:t>
            </a:r>
            <a:r>
              <a:rPr lang="ru-RU" dirty="0"/>
              <a:t>проект «Развитие СКК»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СКК Казахстан</a:t>
            </a:r>
            <a:r>
              <a:rPr lang="en-US" dirty="0"/>
              <a:t>)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B101767-7855-4ACA-879B-61606C5D0B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36000" y="4331240"/>
            <a:ext cx="6120000" cy="720262"/>
          </a:xfrm>
        </p:spPr>
        <p:txBody>
          <a:bodyPr/>
          <a:lstStyle/>
          <a:p>
            <a:r>
              <a:rPr lang="ru-RU" dirty="0"/>
              <a:t>Страновой координационный комитет</a:t>
            </a:r>
            <a:endParaRPr lang="en-US" dirty="0"/>
          </a:p>
          <a:p>
            <a:r>
              <a:rPr lang="ru-RU" dirty="0"/>
              <a:t>15 апреля 2021</a:t>
            </a:r>
            <a:endParaRPr lang="en-US" cap="non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BDB309-7028-4585-9E85-767609AFC5A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429C8-3C94-4618-8712-4F46E0044B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313955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F4F77-F284-4064-AE79-F91096E96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00" y="121800"/>
            <a:ext cx="11389821" cy="1325563"/>
          </a:xfrm>
        </p:spPr>
        <p:txBody>
          <a:bodyPr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Пороговые результаты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основаны на анализе трех источников данных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A20B96-E7BF-4D7D-8326-89E879F3A0CC}"/>
              </a:ext>
            </a:extLst>
          </p:cNvPr>
          <p:cNvSpPr/>
          <p:nvPr/>
        </p:nvSpPr>
        <p:spPr>
          <a:xfrm>
            <a:off x="1340386" y="1872018"/>
            <a:ext cx="3663256" cy="105972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 членов СКК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енные данные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2B1413-49AF-4AA7-AA81-2B39F51A4AAC}"/>
              </a:ext>
            </a:extLst>
          </p:cNvPr>
          <p:cNvSpPr/>
          <p:nvPr/>
        </p:nvSpPr>
        <p:spPr>
          <a:xfrm>
            <a:off x="1340386" y="3207053"/>
            <a:ext cx="3663256" cy="105972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вью с информантами из СКК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енные данные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D30AA6-EE87-449C-B346-C612D20F847B}"/>
              </a:ext>
            </a:extLst>
          </p:cNvPr>
          <p:cNvSpPr/>
          <p:nvPr/>
        </p:nvSpPr>
        <p:spPr>
          <a:xfrm>
            <a:off x="1340385" y="4604226"/>
            <a:ext cx="3663257" cy="105972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ы СКК</a:t>
            </a:r>
            <a:endParaRPr 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енные и количественные данные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63A89710-2F62-4CC5-B762-557237C16337}"/>
              </a:ext>
            </a:extLst>
          </p:cNvPr>
          <p:cNvSpPr/>
          <p:nvPr/>
        </p:nvSpPr>
        <p:spPr>
          <a:xfrm rot="10800000">
            <a:off x="5552114" y="1840949"/>
            <a:ext cx="229987" cy="379193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4BB557-96B9-4CF5-A474-F630B2538635}"/>
              </a:ext>
            </a:extLst>
          </p:cNvPr>
          <p:cNvSpPr txBox="1"/>
          <p:nvPr/>
        </p:nvSpPr>
        <p:spPr>
          <a:xfrm rot="16200000">
            <a:off x="-1444675" y="3465394"/>
            <a:ext cx="41654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i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 данных о пороговых уровнях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5C300B-4E48-4EC6-83AB-C0AC2E338EAE}"/>
              </a:ext>
            </a:extLst>
          </p:cNvPr>
          <p:cNvSpPr/>
          <p:nvPr/>
        </p:nvSpPr>
        <p:spPr>
          <a:xfrm>
            <a:off x="5118637" y="3033458"/>
            <a:ext cx="6435076" cy="551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28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висимый анализ</a:t>
            </a:r>
            <a:endParaRPr lang="en-US" sz="2800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6815CBC-F194-49DF-A0AD-82609577B4BC}"/>
              </a:ext>
            </a:extLst>
          </p:cNvPr>
          <p:cNvSpPr/>
          <p:nvPr/>
        </p:nvSpPr>
        <p:spPr>
          <a:xfrm>
            <a:off x="1140330" y="1736636"/>
            <a:ext cx="400111" cy="37127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F3ADE12-8E1B-4383-B7E3-0DEC3696BEE2}"/>
              </a:ext>
            </a:extLst>
          </p:cNvPr>
          <p:cNvSpPr/>
          <p:nvPr/>
        </p:nvSpPr>
        <p:spPr>
          <a:xfrm>
            <a:off x="1140330" y="3057727"/>
            <a:ext cx="400111" cy="37127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1A73E9-76C4-4A5C-BFA4-6B67683CDE09}"/>
              </a:ext>
            </a:extLst>
          </p:cNvPr>
          <p:cNvSpPr/>
          <p:nvPr/>
        </p:nvSpPr>
        <p:spPr>
          <a:xfrm>
            <a:off x="1140330" y="4438795"/>
            <a:ext cx="400111" cy="371273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85668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>
            <a:extLst>
              <a:ext uri="{FF2B5EF4-FFF2-40B4-BE49-F238E27FC236}">
                <a16:creationId xmlns:a16="http://schemas.microsoft.com/office/drawing/2014/main" id="{B9DC6D80-4F69-42EC-AEF3-F5AFDB9DF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468" y="82699"/>
            <a:ext cx="11685992" cy="936104"/>
          </a:xfrm>
        </p:spPr>
        <p:txBody>
          <a:bodyPr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Пороговые результаты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КК Казахстан - 2021</a:t>
            </a:r>
            <a:endParaRPr lang="ru-RU" sz="3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8F66A2-2189-43CB-A8F4-0C3391B0D1E3}"/>
              </a:ext>
            </a:extLst>
          </p:cNvPr>
          <p:cNvSpPr txBox="1"/>
          <p:nvPr/>
        </p:nvSpPr>
        <p:spPr>
          <a:xfrm>
            <a:off x="436468" y="2158610"/>
            <a:ext cx="461665" cy="365396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Доля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(%)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достигнутых результатов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A516BEE5-181B-4F79-9489-FAA5B239838E}"/>
              </a:ext>
            </a:extLst>
          </p:cNvPr>
          <p:cNvSpPr txBox="1"/>
          <p:nvPr/>
        </p:nvSpPr>
        <p:spPr>
          <a:xfrm>
            <a:off x="2563963" y="1074406"/>
            <a:ext cx="800100" cy="29256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3</a:t>
            </a:r>
            <a:r>
              <a:rPr lang="en-US" sz="1600" b="1" i="0" u="none" strike="noStrike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*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extBox 20">
            <a:extLst>
              <a:ext uri="{FF2B5EF4-FFF2-40B4-BE49-F238E27FC236}">
                <a16:creationId xmlns:a16="http://schemas.microsoft.com/office/drawing/2014/main" id="{0F782BBF-4FCA-4334-83F9-8F32272CFD2D}"/>
              </a:ext>
            </a:extLst>
          </p:cNvPr>
          <p:cNvSpPr txBox="1"/>
          <p:nvPr/>
        </p:nvSpPr>
        <p:spPr>
          <a:xfrm>
            <a:off x="7098253" y="1044486"/>
            <a:ext cx="1013883" cy="29256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1</a:t>
            </a:r>
            <a:r>
              <a:rPr lang="en-US" sz="1600" b="1" i="0" u="none" strike="noStrike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*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6844B867-C69A-4344-992B-FCA175883813}"/>
              </a:ext>
            </a:extLst>
          </p:cNvPr>
          <p:cNvSpPr txBox="1"/>
          <p:nvPr/>
        </p:nvSpPr>
        <p:spPr>
          <a:xfrm>
            <a:off x="9616371" y="1061787"/>
            <a:ext cx="801159" cy="289869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4</a:t>
            </a:r>
            <a:r>
              <a:rPr lang="en-US" sz="1600" b="1" i="0" u="none" strike="noStrike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*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712C09B8-EC55-4CEA-A689-BF2A45819D09}"/>
              </a:ext>
            </a:extLst>
          </p:cNvPr>
          <p:cNvSpPr txBox="1"/>
          <p:nvPr/>
        </p:nvSpPr>
        <p:spPr>
          <a:xfrm>
            <a:off x="4818806" y="1044486"/>
            <a:ext cx="1242484" cy="29256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2</a:t>
            </a:r>
            <a:r>
              <a:rPr lang="en-US" sz="1600" b="1" i="0" u="none" strike="noStrike" dirty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*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CFBC359-78FB-4143-813C-57BA548DAA26}"/>
              </a:ext>
            </a:extLst>
          </p:cNvPr>
          <p:cNvSpPr txBox="1"/>
          <p:nvPr/>
        </p:nvSpPr>
        <p:spPr>
          <a:xfrm>
            <a:off x="0" y="6284643"/>
            <a:ext cx="2191726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Цифровые значения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extBox 3">
            <a:extLst>
              <a:ext uri="{FF2B5EF4-FFF2-40B4-BE49-F238E27FC236}">
                <a16:creationId xmlns:a16="http://schemas.microsoft.com/office/drawing/2014/main" id="{06FB4072-1104-46BC-BD34-DB47BEA57D41}"/>
              </a:ext>
            </a:extLst>
          </p:cNvPr>
          <p:cNvSpPr txBox="1"/>
          <p:nvPr/>
        </p:nvSpPr>
        <p:spPr>
          <a:xfrm>
            <a:off x="2552987" y="6242272"/>
            <a:ext cx="934464" cy="29256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0" u="none" strike="noStrike" dirty="0">
                <a:solidFill>
                  <a:schemeClr val="tx1"/>
                </a:solidFill>
                <a:latin typeface="Calibri"/>
                <a:cs typeface="Calibri"/>
              </a:rPr>
              <a:t>Надзор</a:t>
            </a:r>
            <a:endParaRPr lang="en-US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23" name="Chart 6">
            <a:extLst>
              <a:ext uri="{FF2B5EF4-FFF2-40B4-BE49-F238E27FC236}">
                <a16:creationId xmlns:a16="http://schemas.microsoft.com/office/drawing/2014/main" id="{5D7B3EDD-711C-439D-9DFD-812C3AC9FC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9127829"/>
              </p:ext>
            </p:extLst>
          </p:nvPr>
        </p:nvGraphicFramePr>
        <p:xfrm>
          <a:off x="1109219" y="1299765"/>
          <a:ext cx="10229321" cy="4942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Box 3">
            <a:extLst>
              <a:ext uri="{FF2B5EF4-FFF2-40B4-BE49-F238E27FC236}">
                <a16:creationId xmlns:a16="http://schemas.microsoft.com/office/drawing/2014/main" id="{BF60289B-55B5-C44F-BFF9-BE75697B3AAF}"/>
              </a:ext>
            </a:extLst>
          </p:cNvPr>
          <p:cNvSpPr txBox="1"/>
          <p:nvPr/>
        </p:nvSpPr>
        <p:spPr>
          <a:xfrm>
            <a:off x="4741553" y="6242272"/>
            <a:ext cx="1242484" cy="29256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tx1"/>
                </a:solidFill>
                <a:latin typeface="Calibri"/>
                <a:cs typeface="Calibri"/>
              </a:rPr>
              <a:t>Вовлечение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0" name="TextBox 3">
            <a:extLst>
              <a:ext uri="{FF2B5EF4-FFF2-40B4-BE49-F238E27FC236}">
                <a16:creationId xmlns:a16="http://schemas.microsoft.com/office/drawing/2014/main" id="{488D9882-AFD5-D044-88FE-4E822EAC9417}"/>
              </a:ext>
            </a:extLst>
          </p:cNvPr>
          <p:cNvSpPr txBox="1"/>
          <p:nvPr/>
        </p:nvSpPr>
        <p:spPr>
          <a:xfrm>
            <a:off x="6680048" y="6256227"/>
            <a:ext cx="2056125" cy="267007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tx1"/>
                </a:solidFill>
                <a:latin typeface="Calibri"/>
                <a:cs typeface="Calibri"/>
              </a:rPr>
              <a:t>Позиционирование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1" name="TextBox 3">
            <a:extLst>
              <a:ext uri="{FF2B5EF4-FFF2-40B4-BE49-F238E27FC236}">
                <a16:creationId xmlns:a16="http://schemas.microsoft.com/office/drawing/2014/main" id="{D5F634F0-BEA9-BF41-BD92-6DD460C663C1}"/>
              </a:ext>
            </a:extLst>
          </p:cNvPr>
          <p:cNvSpPr txBox="1"/>
          <p:nvPr/>
        </p:nvSpPr>
        <p:spPr>
          <a:xfrm>
            <a:off x="8831935" y="6153795"/>
            <a:ext cx="2898183" cy="454984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>
                <a:solidFill>
                  <a:schemeClr val="tx1"/>
                </a:solidFill>
                <a:latin typeface="Calibri"/>
                <a:cs typeface="Calibri"/>
              </a:rPr>
              <a:t>Операционная деятельность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6483ECDC-5FAE-4E46-ABD3-3C3B01FD2BBE}"/>
              </a:ext>
            </a:extLst>
          </p:cNvPr>
          <p:cNvSpPr/>
          <p:nvPr/>
        </p:nvSpPr>
        <p:spPr>
          <a:xfrm>
            <a:off x="7030807" y="2991174"/>
            <a:ext cx="1354609" cy="3197340"/>
          </a:xfrm>
          <a:prstGeom prst="rect">
            <a:avLst/>
          </a:prstGeom>
          <a:noFill/>
          <a:ln w="19050"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F4A172F-CE6A-3245-8A55-F5ACC71C2C12}"/>
              </a:ext>
            </a:extLst>
          </p:cNvPr>
          <p:cNvSpPr txBox="1"/>
          <p:nvPr/>
        </p:nvSpPr>
        <p:spPr>
          <a:xfrm>
            <a:off x="6383919" y="2819210"/>
            <a:ext cx="166077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i="1" dirty="0">
                <a:solidFill>
                  <a:srgbClr val="002060"/>
                </a:solidFill>
              </a:rPr>
              <a:t>Целевая сфера </a:t>
            </a:r>
            <a:r>
              <a:rPr lang="es-CR" sz="1400" i="1" dirty="0">
                <a:solidFill>
                  <a:srgbClr val="002060"/>
                </a:solidFill>
                <a:latin typeface="Calibri" panose="020F0502020204030204"/>
              </a:rPr>
              <a:t>1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D3FFFAEC-2D3B-874A-9156-ED49079A7F3D}"/>
              </a:ext>
            </a:extLst>
          </p:cNvPr>
          <p:cNvSpPr/>
          <p:nvPr/>
        </p:nvSpPr>
        <p:spPr>
          <a:xfrm>
            <a:off x="4654970" y="2061846"/>
            <a:ext cx="1329068" cy="4099214"/>
          </a:xfrm>
          <a:prstGeom prst="rect">
            <a:avLst/>
          </a:prstGeom>
          <a:noFill/>
          <a:ln w="19050">
            <a:solidFill>
              <a:srgbClr val="00206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18C3BEF-A636-AC4C-87F3-8E68A31611FD}"/>
              </a:ext>
            </a:extLst>
          </p:cNvPr>
          <p:cNvSpPr txBox="1"/>
          <p:nvPr/>
        </p:nvSpPr>
        <p:spPr>
          <a:xfrm>
            <a:off x="3999262" y="1780884"/>
            <a:ext cx="16721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i="1" dirty="0">
                <a:solidFill>
                  <a:srgbClr val="002060"/>
                </a:solidFill>
                <a:latin typeface="Calibri" panose="020F0502020204030204"/>
              </a:rPr>
              <a:t>Целевая сфера </a:t>
            </a:r>
            <a:r>
              <a:rPr lang="es-CR" sz="1400" i="1" dirty="0">
                <a:solidFill>
                  <a:srgbClr val="002060"/>
                </a:solidFill>
                <a:latin typeface="Calibri" panose="020F0502020204030204"/>
              </a:rPr>
              <a:t>2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09636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6757" y="284097"/>
            <a:ext cx="11642449" cy="569846"/>
          </a:xfrm>
        </p:spPr>
        <p:txBody>
          <a:bodyPr>
            <a:noAutofit/>
          </a:bodyPr>
          <a:lstStyle/>
          <a:p>
            <a:r>
              <a:rPr lang="ru-RU" sz="3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иционирование </a:t>
            </a:r>
            <a:r>
              <a:rPr lang="ru-RU" sz="3000" dirty="0">
                <a:solidFill>
                  <a:schemeClr val="tx1"/>
                </a:solidFill>
                <a:cs typeface="Arial"/>
              </a:rPr>
              <a:t>– это путь, ведущий к устойчивому </a:t>
            </a:r>
            <a:br>
              <a:rPr lang="ru-RU" sz="3000" dirty="0">
                <a:solidFill>
                  <a:schemeClr val="tx1"/>
                </a:solidFill>
                <a:cs typeface="Arial"/>
              </a:rPr>
            </a:br>
            <a:r>
              <a:rPr lang="ru-RU" sz="3000" b="1" dirty="0">
                <a:solidFill>
                  <a:schemeClr val="tx1"/>
                </a:solidFill>
                <a:cs typeface="Arial"/>
              </a:rPr>
              <a:t>управлению в области здравоохранения</a:t>
            </a:r>
            <a:endParaRPr lang="en-US" sz="3000" dirty="0"/>
          </a:p>
        </p:txBody>
      </p:sp>
      <p:grpSp>
        <p:nvGrpSpPr>
          <p:cNvPr id="73" name="Group 72"/>
          <p:cNvGrpSpPr/>
          <p:nvPr/>
        </p:nvGrpSpPr>
        <p:grpSpPr>
          <a:xfrm>
            <a:off x="175795" y="3258101"/>
            <a:ext cx="11756702" cy="914364"/>
            <a:chOff x="986430" y="3205204"/>
            <a:chExt cx="10217902" cy="914364"/>
          </a:xfrm>
        </p:grpSpPr>
        <p:sp>
          <p:nvSpPr>
            <p:cNvPr id="80" name="Oval 79"/>
            <p:cNvSpPr/>
            <p:nvPr/>
          </p:nvSpPr>
          <p:spPr>
            <a:xfrm>
              <a:off x="7771529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8761971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Oval 81"/>
            <p:cNvSpPr/>
            <p:nvPr/>
          </p:nvSpPr>
          <p:spPr>
            <a:xfrm>
              <a:off x="986430" y="3490894"/>
              <a:ext cx="598196" cy="598196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1129131" y="3637591"/>
              <a:ext cx="2057400" cy="304800"/>
            </a:xfrm>
            <a:prstGeom prst="roundRect">
              <a:avLst>
                <a:gd name="adj" fmla="val 50000"/>
              </a:avLst>
            </a:prstGeom>
            <a:solidFill>
              <a:schemeClr val="tx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2785421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2889880" y="3637591"/>
              <a:ext cx="875280" cy="318299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3372495" y="3535639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3477546" y="3637960"/>
              <a:ext cx="1745638" cy="31791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4857230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Rounded Rectangle 88"/>
            <p:cNvSpPr/>
            <p:nvPr/>
          </p:nvSpPr>
          <p:spPr>
            <a:xfrm>
              <a:off x="4913696" y="3637590"/>
              <a:ext cx="2177906" cy="342651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6685872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Rounded Rectangle 90"/>
            <p:cNvSpPr/>
            <p:nvPr/>
          </p:nvSpPr>
          <p:spPr>
            <a:xfrm>
              <a:off x="6783248" y="3637591"/>
              <a:ext cx="1386766" cy="304800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Rounded Rectangle 91"/>
            <p:cNvSpPr/>
            <p:nvPr/>
          </p:nvSpPr>
          <p:spPr>
            <a:xfrm>
              <a:off x="7864642" y="3637591"/>
              <a:ext cx="1301778" cy="304800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Oval 92"/>
            <p:cNvSpPr/>
            <p:nvPr/>
          </p:nvSpPr>
          <p:spPr>
            <a:xfrm>
              <a:off x="9694156" y="3544332"/>
              <a:ext cx="491319" cy="491319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ounded Rectangle 93"/>
            <p:cNvSpPr/>
            <p:nvPr/>
          </p:nvSpPr>
          <p:spPr>
            <a:xfrm>
              <a:off x="9785358" y="3637591"/>
              <a:ext cx="1306381" cy="30480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Rounded Rectangle 94"/>
            <p:cNvSpPr/>
            <p:nvPr/>
          </p:nvSpPr>
          <p:spPr>
            <a:xfrm>
              <a:off x="8862250" y="3637591"/>
              <a:ext cx="1228720" cy="30480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ounded Rectangle 95"/>
            <p:cNvSpPr/>
            <p:nvPr/>
          </p:nvSpPr>
          <p:spPr>
            <a:xfrm rot="2700000">
              <a:off x="10395210" y="3457365"/>
              <a:ext cx="809121" cy="30480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Rounded Rectangle 96"/>
            <p:cNvSpPr/>
            <p:nvPr/>
          </p:nvSpPr>
          <p:spPr>
            <a:xfrm rot="18900000" flipH="1">
              <a:off x="10395211" y="3814768"/>
              <a:ext cx="809121" cy="304800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Oval 97"/>
            <p:cNvSpPr/>
            <p:nvPr/>
          </p:nvSpPr>
          <p:spPr>
            <a:xfrm rot="1275178">
              <a:off x="1124705" y="3626264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Oval 98"/>
            <p:cNvSpPr/>
            <p:nvPr/>
          </p:nvSpPr>
          <p:spPr>
            <a:xfrm rot="1275178">
              <a:off x="2877304" y="3640893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Oval 99"/>
            <p:cNvSpPr/>
            <p:nvPr/>
          </p:nvSpPr>
          <p:spPr>
            <a:xfrm rot="1275178">
              <a:off x="3486398" y="3634973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 rot="1275178">
              <a:off x="4923726" y="3626262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Oval 101"/>
            <p:cNvSpPr/>
            <p:nvPr/>
          </p:nvSpPr>
          <p:spPr>
            <a:xfrm rot="1275178">
              <a:off x="6783710" y="3637875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Oval 102"/>
            <p:cNvSpPr/>
            <p:nvPr/>
          </p:nvSpPr>
          <p:spPr>
            <a:xfrm rot="1275178">
              <a:off x="7865026" y="3637876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 rot="1275178">
              <a:off x="8860706" y="3637876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 rot="1275178">
              <a:off x="9786716" y="3637876"/>
              <a:ext cx="304699" cy="304699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 rot="10800000">
            <a:off x="2054396" y="1520630"/>
            <a:ext cx="2329642" cy="1815882"/>
            <a:chOff x="3198810" y="455639"/>
            <a:chExt cx="1749969" cy="3578123"/>
          </a:xfrm>
        </p:grpSpPr>
        <p:sp>
          <p:nvSpPr>
            <p:cNvPr id="112" name="TextBox 111"/>
            <p:cNvSpPr txBox="1"/>
            <p:nvPr/>
          </p:nvSpPr>
          <p:spPr>
            <a:xfrm rot="10800000">
              <a:off x="3198810" y="455639"/>
              <a:ext cx="1749508" cy="35781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Знания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09585">
                <a:defRPr/>
              </a:pPr>
              <a:r>
                <a:rPr lang="ru-RU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КК составляет схему существующих органов, систем, процессов и ресурсов</a:t>
              </a:r>
            </a:p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3236547" y="856113"/>
              <a:ext cx="1712232" cy="761999"/>
              <a:chOff x="7937170" y="170313"/>
              <a:chExt cx="3124200" cy="761999"/>
            </a:xfrm>
          </p:grpSpPr>
          <p:cxnSp>
            <p:nvCxnSpPr>
              <p:cNvPr id="36" name="Straight Connector 35"/>
              <p:cNvCxnSpPr>
                <a:cxnSpLocks/>
              </p:cNvCxnSpPr>
              <p:nvPr/>
            </p:nvCxnSpPr>
            <p:spPr>
              <a:xfrm flipV="1">
                <a:off x="9449773" y="170313"/>
                <a:ext cx="0" cy="761999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>
                <a:off x="7937170" y="747977"/>
                <a:ext cx="3124200" cy="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8" name="Group 117"/>
          <p:cNvGrpSpPr/>
          <p:nvPr/>
        </p:nvGrpSpPr>
        <p:grpSpPr>
          <a:xfrm>
            <a:off x="5324056" y="1669402"/>
            <a:ext cx="3431758" cy="1498241"/>
            <a:chOff x="2132554" y="1823566"/>
            <a:chExt cx="1819063" cy="1579275"/>
          </a:xfrm>
        </p:grpSpPr>
        <p:sp>
          <p:nvSpPr>
            <p:cNvPr id="119" name="TextBox 118"/>
            <p:cNvSpPr txBox="1"/>
            <p:nvPr/>
          </p:nvSpPr>
          <p:spPr>
            <a:xfrm>
              <a:off x="2202865" y="1823566"/>
              <a:ext cx="1667103" cy="10057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609585">
                <a:defRPr/>
              </a:pPr>
              <a:r>
                <a:rPr lang="ru-RU" sz="1400" b="1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риант позиционирования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09585">
                <a:defRPr/>
              </a:pPr>
              <a:r>
                <a:rPr lang="ru-RU" sz="1400" kern="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КК коллективно обязуется закрепить свои функции перед национальными институтами</a:t>
              </a:r>
            </a:p>
          </p:txBody>
        </p:sp>
        <p:grpSp>
          <p:nvGrpSpPr>
            <p:cNvPr id="120" name="Group 119"/>
            <p:cNvGrpSpPr/>
            <p:nvPr/>
          </p:nvGrpSpPr>
          <p:grpSpPr>
            <a:xfrm>
              <a:off x="2132554" y="2901181"/>
              <a:ext cx="1819063" cy="501660"/>
              <a:chOff x="5922782" y="2215381"/>
              <a:chExt cx="3319128" cy="501660"/>
            </a:xfrm>
          </p:grpSpPr>
          <p:cxnSp>
            <p:nvCxnSpPr>
              <p:cNvPr id="121" name="Straight Connector 120"/>
              <p:cNvCxnSpPr>
                <a:cxnSpLocks/>
              </p:cNvCxnSpPr>
              <p:nvPr/>
            </p:nvCxnSpPr>
            <p:spPr>
              <a:xfrm flipV="1">
                <a:off x="7572000" y="2215381"/>
                <a:ext cx="0" cy="501660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>
                <a:cxnSpLocks/>
              </p:cNvCxnSpPr>
              <p:nvPr/>
            </p:nvCxnSpPr>
            <p:spPr>
              <a:xfrm flipV="1">
                <a:off x="5922782" y="2388685"/>
                <a:ext cx="3319128" cy="1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41" name="TextBox 140"/>
          <p:cNvSpPr txBox="1"/>
          <p:nvPr/>
        </p:nvSpPr>
        <p:spPr>
          <a:xfrm>
            <a:off x="9649772" y="1513481"/>
            <a:ext cx="2350040" cy="1349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609585">
              <a:lnSpc>
                <a:spcPts val="1400"/>
              </a:lnSpc>
              <a:defRPr/>
            </a:pPr>
            <a:r>
              <a:rPr lang="ru-RU" sz="1400" b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действие на борьбу с тремя заболеваниями</a:t>
            </a:r>
          </a:p>
          <a:p>
            <a:pPr lvl="0" algn="ctr" defTabSz="609585">
              <a:lnSpc>
                <a:spcPts val="1400"/>
              </a:lnSpc>
              <a:defRPr/>
            </a:pPr>
            <a:r>
              <a:rPr lang="ru-RU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ированная национальная структура координирует программы в области здравоохранения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175795" y="4641150"/>
            <a:ext cx="260789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язательств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algn="ctr" defTabSz="609585">
              <a:defRPr/>
            </a:pPr>
            <a:r>
              <a:rPr lang="ru-RU" sz="1400" dirty="0">
                <a:solidFill>
                  <a:srgbClr val="000000"/>
                </a:solidFill>
              </a:rPr>
              <a:t>СКК коллективно берет на себя обязательства по укреплению систем управления в области здравоохранения в странах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698610" y="1618065"/>
            <a:ext cx="1248738" cy="1901170"/>
            <a:chOff x="1370011" y="4028768"/>
            <a:chExt cx="697327" cy="1017746"/>
          </a:xfrm>
        </p:grpSpPr>
        <p:sp>
          <p:nvSpPr>
            <p:cNvPr id="147" name="Oval 31"/>
            <p:cNvSpPr/>
            <p:nvPr/>
          </p:nvSpPr>
          <p:spPr>
            <a:xfrm>
              <a:off x="1370011" y="4028768"/>
              <a:ext cx="697327" cy="1017746"/>
            </a:xfrm>
            <a:custGeom>
              <a:avLst/>
              <a:gdLst>
                <a:gd name="connsiteX0" fmla="*/ 0 w 638355"/>
                <a:gd name="connsiteY0" fmla="*/ 319178 h 638355"/>
                <a:gd name="connsiteX1" fmla="*/ 319178 w 638355"/>
                <a:gd name="connsiteY1" fmla="*/ 0 h 638355"/>
                <a:gd name="connsiteX2" fmla="*/ 638356 w 638355"/>
                <a:gd name="connsiteY2" fmla="*/ 319178 h 638355"/>
                <a:gd name="connsiteX3" fmla="*/ 319178 w 638355"/>
                <a:gd name="connsiteY3" fmla="*/ 638356 h 638355"/>
                <a:gd name="connsiteX4" fmla="*/ 0 w 638355"/>
                <a:gd name="connsiteY4" fmla="*/ 319178 h 638355"/>
                <a:gd name="connsiteX0" fmla="*/ 47 w 638403"/>
                <a:gd name="connsiteY0" fmla="*/ 319178 h 931654"/>
                <a:gd name="connsiteX1" fmla="*/ 319225 w 638403"/>
                <a:gd name="connsiteY1" fmla="*/ 0 h 931654"/>
                <a:gd name="connsiteX2" fmla="*/ 638403 w 638403"/>
                <a:gd name="connsiteY2" fmla="*/ 319178 h 931654"/>
                <a:gd name="connsiteX3" fmla="*/ 301973 w 638403"/>
                <a:gd name="connsiteY3" fmla="*/ 931654 h 931654"/>
                <a:gd name="connsiteX4" fmla="*/ 47 w 638403"/>
                <a:gd name="connsiteY4" fmla="*/ 319178 h 931654"/>
                <a:gd name="connsiteX0" fmla="*/ 24 w 638380"/>
                <a:gd name="connsiteY0" fmla="*/ 319178 h 931713"/>
                <a:gd name="connsiteX1" fmla="*/ 319202 w 638380"/>
                <a:gd name="connsiteY1" fmla="*/ 0 h 931713"/>
                <a:gd name="connsiteX2" fmla="*/ 638380 w 638380"/>
                <a:gd name="connsiteY2" fmla="*/ 319178 h 931713"/>
                <a:gd name="connsiteX3" fmla="*/ 301950 w 638380"/>
                <a:gd name="connsiteY3" fmla="*/ 931654 h 931713"/>
                <a:gd name="connsiteX4" fmla="*/ 24 w 638380"/>
                <a:gd name="connsiteY4" fmla="*/ 319178 h 93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80" h="931713">
                  <a:moveTo>
                    <a:pt x="24" y="319178"/>
                  </a:moveTo>
                  <a:cubicBezTo>
                    <a:pt x="2899" y="163902"/>
                    <a:pt x="142925" y="0"/>
                    <a:pt x="319202" y="0"/>
                  </a:cubicBezTo>
                  <a:cubicBezTo>
                    <a:pt x="495479" y="0"/>
                    <a:pt x="638380" y="142901"/>
                    <a:pt x="638380" y="319178"/>
                  </a:cubicBezTo>
                  <a:cubicBezTo>
                    <a:pt x="638380" y="495455"/>
                    <a:pt x="341661" y="937591"/>
                    <a:pt x="301950" y="931654"/>
                  </a:cubicBezTo>
                  <a:cubicBezTo>
                    <a:pt x="262239" y="925717"/>
                    <a:pt x="-2851" y="474454"/>
                    <a:pt x="24" y="31917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Oval 147"/>
            <p:cNvSpPr/>
            <p:nvPr/>
          </p:nvSpPr>
          <p:spPr>
            <a:xfrm>
              <a:off x="1370011" y="4120467"/>
              <a:ext cx="693227" cy="518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чало пути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540919" y="2383186"/>
            <a:ext cx="742533" cy="1083723"/>
            <a:chOff x="1370011" y="4028768"/>
            <a:chExt cx="697327" cy="1017746"/>
          </a:xfrm>
        </p:grpSpPr>
        <p:sp>
          <p:nvSpPr>
            <p:cNvPr id="69" name="Oval 31"/>
            <p:cNvSpPr/>
            <p:nvPr/>
          </p:nvSpPr>
          <p:spPr>
            <a:xfrm>
              <a:off x="1370011" y="4028768"/>
              <a:ext cx="697327" cy="1017746"/>
            </a:xfrm>
            <a:custGeom>
              <a:avLst/>
              <a:gdLst>
                <a:gd name="connsiteX0" fmla="*/ 0 w 638355"/>
                <a:gd name="connsiteY0" fmla="*/ 319178 h 638355"/>
                <a:gd name="connsiteX1" fmla="*/ 319178 w 638355"/>
                <a:gd name="connsiteY1" fmla="*/ 0 h 638355"/>
                <a:gd name="connsiteX2" fmla="*/ 638356 w 638355"/>
                <a:gd name="connsiteY2" fmla="*/ 319178 h 638355"/>
                <a:gd name="connsiteX3" fmla="*/ 319178 w 638355"/>
                <a:gd name="connsiteY3" fmla="*/ 638356 h 638355"/>
                <a:gd name="connsiteX4" fmla="*/ 0 w 638355"/>
                <a:gd name="connsiteY4" fmla="*/ 319178 h 638355"/>
                <a:gd name="connsiteX0" fmla="*/ 47 w 638403"/>
                <a:gd name="connsiteY0" fmla="*/ 319178 h 931654"/>
                <a:gd name="connsiteX1" fmla="*/ 319225 w 638403"/>
                <a:gd name="connsiteY1" fmla="*/ 0 h 931654"/>
                <a:gd name="connsiteX2" fmla="*/ 638403 w 638403"/>
                <a:gd name="connsiteY2" fmla="*/ 319178 h 931654"/>
                <a:gd name="connsiteX3" fmla="*/ 301973 w 638403"/>
                <a:gd name="connsiteY3" fmla="*/ 931654 h 931654"/>
                <a:gd name="connsiteX4" fmla="*/ 47 w 638403"/>
                <a:gd name="connsiteY4" fmla="*/ 319178 h 931654"/>
                <a:gd name="connsiteX0" fmla="*/ 24 w 638380"/>
                <a:gd name="connsiteY0" fmla="*/ 319178 h 931713"/>
                <a:gd name="connsiteX1" fmla="*/ 319202 w 638380"/>
                <a:gd name="connsiteY1" fmla="*/ 0 h 931713"/>
                <a:gd name="connsiteX2" fmla="*/ 638380 w 638380"/>
                <a:gd name="connsiteY2" fmla="*/ 319178 h 931713"/>
                <a:gd name="connsiteX3" fmla="*/ 301950 w 638380"/>
                <a:gd name="connsiteY3" fmla="*/ 931654 h 931713"/>
                <a:gd name="connsiteX4" fmla="*/ 24 w 638380"/>
                <a:gd name="connsiteY4" fmla="*/ 319178 h 93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80" h="931713">
                  <a:moveTo>
                    <a:pt x="24" y="319178"/>
                  </a:moveTo>
                  <a:cubicBezTo>
                    <a:pt x="2899" y="163902"/>
                    <a:pt x="142925" y="0"/>
                    <a:pt x="319202" y="0"/>
                  </a:cubicBezTo>
                  <a:cubicBezTo>
                    <a:pt x="495479" y="0"/>
                    <a:pt x="638380" y="142901"/>
                    <a:pt x="638380" y="319178"/>
                  </a:cubicBezTo>
                  <a:cubicBezTo>
                    <a:pt x="638380" y="495455"/>
                    <a:pt x="341661" y="937591"/>
                    <a:pt x="301950" y="931654"/>
                  </a:cubicBezTo>
                  <a:cubicBezTo>
                    <a:pt x="262239" y="925717"/>
                    <a:pt x="-2851" y="474454"/>
                    <a:pt x="24" y="31917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1462767" y="4120468"/>
              <a:ext cx="518434" cy="518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9041526" y="2431106"/>
            <a:ext cx="742533" cy="1083723"/>
            <a:chOff x="2534223" y="4111216"/>
            <a:chExt cx="697327" cy="1017746"/>
          </a:xfrm>
        </p:grpSpPr>
        <p:sp>
          <p:nvSpPr>
            <p:cNvPr id="72" name="Oval 31"/>
            <p:cNvSpPr/>
            <p:nvPr/>
          </p:nvSpPr>
          <p:spPr>
            <a:xfrm>
              <a:off x="2534223" y="4111216"/>
              <a:ext cx="697327" cy="1017746"/>
            </a:xfrm>
            <a:custGeom>
              <a:avLst/>
              <a:gdLst>
                <a:gd name="connsiteX0" fmla="*/ 0 w 638355"/>
                <a:gd name="connsiteY0" fmla="*/ 319178 h 638355"/>
                <a:gd name="connsiteX1" fmla="*/ 319178 w 638355"/>
                <a:gd name="connsiteY1" fmla="*/ 0 h 638355"/>
                <a:gd name="connsiteX2" fmla="*/ 638356 w 638355"/>
                <a:gd name="connsiteY2" fmla="*/ 319178 h 638355"/>
                <a:gd name="connsiteX3" fmla="*/ 319178 w 638355"/>
                <a:gd name="connsiteY3" fmla="*/ 638356 h 638355"/>
                <a:gd name="connsiteX4" fmla="*/ 0 w 638355"/>
                <a:gd name="connsiteY4" fmla="*/ 319178 h 638355"/>
                <a:gd name="connsiteX0" fmla="*/ 47 w 638403"/>
                <a:gd name="connsiteY0" fmla="*/ 319178 h 931654"/>
                <a:gd name="connsiteX1" fmla="*/ 319225 w 638403"/>
                <a:gd name="connsiteY1" fmla="*/ 0 h 931654"/>
                <a:gd name="connsiteX2" fmla="*/ 638403 w 638403"/>
                <a:gd name="connsiteY2" fmla="*/ 319178 h 931654"/>
                <a:gd name="connsiteX3" fmla="*/ 301973 w 638403"/>
                <a:gd name="connsiteY3" fmla="*/ 931654 h 931654"/>
                <a:gd name="connsiteX4" fmla="*/ 47 w 638403"/>
                <a:gd name="connsiteY4" fmla="*/ 319178 h 931654"/>
                <a:gd name="connsiteX0" fmla="*/ 24 w 638380"/>
                <a:gd name="connsiteY0" fmla="*/ 319178 h 931713"/>
                <a:gd name="connsiteX1" fmla="*/ 319202 w 638380"/>
                <a:gd name="connsiteY1" fmla="*/ 0 h 931713"/>
                <a:gd name="connsiteX2" fmla="*/ 638380 w 638380"/>
                <a:gd name="connsiteY2" fmla="*/ 319178 h 931713"/>
                <a:gd name="connsiteX3" fmla="*/ 301950 w 638380"/>
                <a:gd name="connsiteY3" fmla="*/ 931654 h 931713"/>
                <a:gd name="connsiteX4" fmla="*/ 24 w 638380"/>
                <a:gd name="connsiteY4" fmla="*/ 319178 h 93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80" h="931713">
                  <a:moveTo>
                    <a:pt x="24" y="319178"/>
                  </a:moveTo>
                  <a:cubicBezTo>
                    <a:pt x="2899" y="163902"/>
                    <a:pt x="142925" y="0"/>
                    <a:pt x="319202" y="0"/>
                  </a:cubicBezTo>
                  <a:cubicBezTo>
                    <a:pt x="495479" y="0"/>
                    <a:pt x="638380" y="142901"/>
                    <a:pt x="638380" y="319178"/>
                  </a:cubicBezTo>
                  <a:cubicBezTo>
                    <a:pt x="638380" y="495455"/>
                    <a:pt x="341661" y="937591"/>
                    <a:pt x="301950" y="931654"/>
                  </a:cubicBezTo>
                  <a:cubicBezTo>
                    <a:pt x="262239" y="925717"/>
                    <a:pt x="-2851" y="474454"/>
                    <a:pt x="24" y="31917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2623669" y="4236104"/>
              <a:ext cx="518434" cy="518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6C89BC9F-DB1C-4430-AD75-BCBA3FECD68E}"/>
              </a:ext>
            </a:extLst>
          </p:cNvPr>
          <p:cNvSpPr/>
          <p:nvPr/>
        </p:nvSpPr>
        <p:spPr>
          <a:xfrm>
            <a:off x="7937013" y="4606554"/>
            <a:ext cx="282633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аптирование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 defTabSz="609585"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К изменяет свою структуру и функции на основе одобренного варианта позиционирования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A2D6058-5348-4DD0-943D-A41DF3F94D8E}"/>
              </a:ext>
            </a:extLst>
          </p:cNvPr>
          <p:cNvGrpSpPr/>
          <p:nvPr/>
        </p:nvGrpSpPr>
        <p:grpSpPr>
          <a:xfrm rot="10800000">
            <a:off x="2878933" y="4209404"/>
            <a:ext cx="742533" cy="1083723"/>
            <a:chOff x="1545661" y="4019944"/>
            <a:chExt cx="697327" cy="1017746"/>
          </a:xfrm>
        </p:grpSpPr>
        <p:sp>
          <p:nvSpPr>
            <p:cNvPr id="58" name="Oval 31">
              <a:extLst>
                <a:ext uri="{FF2B5EF4-FFF2-40B4-BE49-F238E27FC236}">
                  <a16:creationId xmlns:a16="http://schemas.microsoft.com/office/drawing/2014/main" id="{D5CDAB89-6984-40CB-B3A3-55A03F56A9DA}"/>
                </a:ext>
              </a:extLst>
            </p:cNvPr>
            <p:cNvSpPr/>
            <p:nvPr/>
          </p:nvSpPr>
          <p:spPr>
            <a:xfrm>
              <a:off x="1545661" y="4019944"/>
              <a:ext cx="697327" cy="1017746"/>
            </a:xfrm>
            <a:custGeom>
              <a:avLst/>
              <a:gdLst>
                <a:gd name="connsiteX0" fmla="*/ 0 w 638355"/>
                <a:gd name="connsiteY0" fmla="*/ 319178 h 638355"/>
                <a:gd name="connsiteX1" fmla="*/ 319178 w 638355"/>
                <a:gd name="connsiteY1" fmla="*/ 0 h 638355"/>
                <a:gd name="connsiteX2" fmla="*/ 638356 w 638355"/>
                <a:gd name="connsiteY2" fmla="*/ 319178 h 638355"/>
                <a:gd name="connsiteX3" fmla="*/ 319178 w 638355"/>
                <a:gd name="connsiteY3" fmla="*/ 638356 h 638355"/>
                <a:gd name="connsiteX4" fmla="*/ 0 w 638355"/>
                <a:gd name="connsiteY4" fmla="*/ 319178 h 638355"/>
                <a:gd name="connsiteX0" fmla="*/ 47 w 638403"/>
                <a:gd name="connsiteY0" fmla="*/ 319178 h 931654"/>
                <a:gd name="connsiteX1" fmla="*/ 319225 w 638403"/>
                <a:gd name="connsiteY1" fmla="*/ 0 h 931654"/>
                <a:gd name="connsiteX2" fmla="*/ 638403 w 638403"/>
                <a:gd name="connsiteY2" fmla="*/ 319178 h 931654"/>
                <a:gd name="connsiteX3" fmla="*/ 301973 w 638403"/>
                <a:gd name="connsiteY3" fmla="*/ 931654 h 931654"/>
                <a:gd name="connsiteX4" fmla="*/ 47 w 638403"/>
                <a:gd name="connsiteY4" fmla="*/ 319178 h 931654"/>
                <a:gd name="connsiteX0" fmla="*/ 24 w 638380"/>
                <a:gd name="connsiteY0" fmla="*/ 319178 h 931713"/>
                <a:gd name="connsiteX1" fmla="*/ 319202 w 638380"/>
                <a:gd name="connsiteY1" fmla="*/ 0 h 931713"/>
                <a:gd name="connsiteX2" fmla="*/ 638380 w 638380"/>
                <a:gd name="connsiteY2" fmla="*/ 319178 h 931713"/>
                <a:gd name="connsiteX3" fmla="*/ 301950 w 638380"/>
                <a:gd name="connsiteY3" fmla="*/ 931654 h 931713"/>
                <a:gd name="connsiteX4" fmla="*/ 24 w 638380"/>
                <a:gd name="connsiteY4" fmla="*/ 319178 h 93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80" h="931713">
                  <a:moveTo>
                    <a:pt x="24" y="319178"/>
                  </a:moveTo>
                  <a:cubicBezTo>
                    <a:pt x="2899" y="163902"/>
                    <a:pt x="142925" y="0"/>
                    <a:pt x="319202" y="0"/>
                  </a:cubicBezTo>
                  <a:cubicBezTo>
                    <a:pt x="495479" y="0"/>
                    <a:pt x="638380" y="142901"/>
                    <a:pt x="638380" y="319178"/>
                  </a:cubicBezTo>
                  <a:cubicBezTo>
                    <a:pt x="638380" y="495455"/>
                    <a:pt x="341661" y="937591"/>
                    <a:pt x="301950" y="931654"/>
                  </a:cubicBezTo>
                  <a:cubicBezTo>
                    <a:pt x="262239" y="925717"/>
                    <a:pt x="-2851" y="474454"/>
                    <a:pt x="24" y="31917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5E13D38B-0FCD-4CA8-9658-18FD8AD81EC6}"/>
                </a:ext>
              </a:extLst>
            </p:cNvPr>
            <p:cNvSpPr/>
            <p:nvPr/>
          </p:nvSpPr>
          <p:spPr>
            <a:xfrm rot="10800000">
              <a:off x="1624564" y="4138068"/>
              <a:ext cx="518434" cy="518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</p:grp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5586C1E-863F-4933-A9D3-E5EFF04019B9}"/>
              </a:ext>
            </a:extLst>
          </p:cNvPr>
          <p:cNvCxnSpPr>
            <a:cxnSpLocks/>
          </p:cNvCxnSpPr>
          <p:nvPr/>
        </p:nvCxnSpPr>
        <p:spPr>
          <a:xfrm flipV="1">
            <a:off x="1254107" y="4160931"/>
            <a:ext cx="0" cy="3729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0BF65C4-CB52-4379-BCC8-F519F1135383}"/>
              </a:ext>
            </a:extLst>
          </p:cNvPr>
          <p:cNvCxnSpPr/>
          <p:nvPr/>
        </p:nvCxnSpPr>
        <p:spPr>
          <a:xfrm>
            <a:off x="369336" y="4533862"/>
            <a:ext cx="182744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CD66BD4-C362-4B30-A7A9-76539F9A09F7}"/>
              </a:ext>
            </a:extLst>
          </p:cNvPr>
          <p:cNvCxnSpPr>
            <a:cxnSpLocks/>
          </p:cNvCxnSpPr>
          <p:nvPr/>
        </p:nvCxnSpPr>
        <p:spPr>
          <a:xfrm flipV="1">
            <a:off x="9404975" y="4126865"/>
            <a:ext cx="0" cy="3729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9B4494E-0F23-4FE9-8CF0-731788A28B74}"/>
              </a:ext>
            </a:extLst>
          </p:cNvPr>
          <p:cNvCxnSpPr>
            <a:cxnSpLocks/>
          </p:cNvCxnSpPr>
          <p:nvPr/>
        </p:nvCxnSpPr>
        <p:spPr>
          <a:xfrm>
            <a:off x="7982719" y="4533862"/>
            <a:ext cx="29232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F75AC83F-9BD4-402F-8A0F-934BA4013E4D}"/>
              </a:ext>
            </a:extLst>
          </p:cNvPr>
          <p:cNvCxnSpPr>
            <a:cxnSpLocks/>
          </p:cNvCxnSpPr>
          <p:nvPr/>
        </p:nvCxnSpPr>
        <p:spPr>
          <a:xfrm>
            <a:off x="9979161" y="2859074"/>
            <a:ext cx="2144453" cy="27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31">
            <a:extLst>
              <a:ext uri="{FF2B5EF4-FFF2-40B4-BE49-F238E27FC236}">
                <a16:creationId xmlns:a16="http://schemas.microsoft.com/office/drawing/2014/main" id="{B244564D-C39C-4CF6-BA73-F0782C4FA828}"/>
              </a:ext>
            </a:extLst>
          </p:cNvPr>
          <p:cNvSpPr/>
          <p:nvPr/>
        </p:nvSpPr>
        <p:spPr>
          <a:xfrm rot="10558647">
            <a:off x="10811392" y="4349461"/>
            <a:ext cx="742533" cy="1083723"/>
          </a:xfrm>
          <a:custGeom>
            <a:avLst/>
            <a:gdLst>
              <a:gd name="connsiteX0" fmla="*/ 0 w 638355"/>
              <a:gd name="connsiteY0" fmla="*/ 319178 h 638355"/>
              <a:gd name="connsiteX1" fmla="*/ 319178 w 638355"/>
              <a:gd name="connsiteY1" fmla="*/ 0 h 638355"/>
              <a:gd name="connsiteX2" fmla="*/ 638356 w 638355"/>
              <a:gd name="connsiteY2" fmla="*/ 319178 h 638355"/>
              <a:gd name="connsiteX3" fmla="*/ 319178 w 638355"/>
              <a:gd name="connsiteY3" fmla="*/ 638356 h 638355"/>
              <a:gd name="connsiteX4" fmla="*/ 0 w 638355"/>
              <a:gd name="connsiteY4" fmla="*/ 319178 h 638355"/>
              <a:gd name="connsiteX0" fmla="*/ 47 w 638403"/>
              <a:gd name="connsiteY0" fmla="*/ 319178 h 931654"/>
              <a:gd name="connsiteX1" fmla="*/ 319225 w 638403"/>
              <a:gd name="connsiteY1" fmla="*/ 0 h 931654"/>
              <a:gd name="connsiteX2" fmla="*/ 638403 w 638403"/>
              <a:gd name="connsiteY2" fmla="*/ 319178 h 931654"/>
              <a:gd name="connsiteX3" fmla="*/ 301973 w 638403"/>
              <a:gd name="connsiteY3" fmla="*/ 931654 h 931654"/>
              <a:gd name="connsiteX4" fmla="*/ 47 w 638403"/>
              <a:gd name="connsiteY4" fmla="*/ 319178 h 931654"/>
              <a:gd name="connsiteX0" fmla="*/ 24 w 638380"/>
              <a:gd name="connsiteY0" fmla="*/ 319178 h 931713"/>
              <a:gd name="connsiteX1" fmla="*/ 319202 w 638380"/>
              <a:gd name="connsiteY1" fmla="*/ 0 h 931713"/>
              <a:gd name="connsiteX2" fmla="*/ 638380 w 638380"/>
              <a:gd name="connsiteY2" fmla="*/ 319178 h 931713"/>
              <a:gd name="connsiteX3" fmla="*/ 301950 w 638380"/>
              <a:gd name="connsiteY3" fmla="*/ 931654 h 931713"/>
              <a:gd name="connsiteX4" fmla="*/ 24 w 638380"/>
              <a:gd name="connsiteY4" fmla="*/ 319178 h 93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380" h="931713">
                <a:moveTo>
                  <a:pt x="24" y="319178"/>
                </a:moveTo>
                <a:cubicBezTo>
                  <a:pt x="2899" y="163902"/>
                  <a:pt x="142925" y="0"/>
                  <a:pt x="319202" y="0"/>
                </a:cubicBezTo>
                <a:cubicBezTo>
                  <a:pt x="495479" y="0"/>
                  <a:pt x="638380" y="142901"/>
                  <a:pt x="638380" y="319178"/>
                </a:cubicBezTo>
                <a:cubicBezTo>
                  <a:pt x="638380" y="495455"/>
                  <a:pt x="341661" y="937591"/>
                  <a:pt x="301950" y="931654"/>
                </a:cubicBezTo>
                <a:cubicBezTo>
                  <a:pt x="262239" y="925717"/>
                  <a:pt x="-2851" y="474454"/>
                  <a:pt x="24" y="31917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0AC5172A-9E75-4EDD-9032-097C6A4C0509}"/>
              </a:ext>
            </a:extLst>
          </p:cNvPr>
          <p:cNvSpPr/>
          <p:nvPr/>
        </p:nvSpPr>
        <p:spPr>
          <a:xfrm>
            <a:off x="10905982" y="4751265"/>
            <a:ext cx="552043" cy="5520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BCB3019-B001-43DE-BDD7-E200328B8826}"/>
              </a:ext>
            </a:extLst>
          </p:cNvPr>
          <p:cNvSpPr/>
          <p:nvPr/>
        </p:nvSpPr>
        <p:spPr>
          <a:xfrm>
            <a:off x="3561733" y="4578404"/>
            <a:ext cx="282633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ординация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 defTabSz="609585"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К тесно сотрудничает с существующими органами, расширяя сбор и обмен данными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E9791C7-D5F2-43D4-A882-2B439EE5A2E1}"/>
              </a:ext>
            </a:extLst>
          </p:cNvPr>
          <p:cNvCxnSpPr>
            <a:cxnSpLocks/>
          </p:cNvCxnSpPr>
          <p:nvPr/>
        </p:nvCxnSpPr>
        <p:spPr>
          <a:xfrm>
            <a:off x="3733800" y="4499796"/>
            <a:ext cx="26542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8D53588-175C-4048-978F-F3C35E587CD8}"/>
              </a:ext>
            </a:extLst>
          </p:cNvPr>
          <p:cNvCxnSpPr>
            <a:cxnSpLocks/>
          </p:cNvCxnSpPr>
          <p:nvPr/>
        </p:nvCxnSpPr>
        <p:spPr>
          <a:xfrm flipV="1">
            <a:off x="4897930" y="4126865"/>
            <a:ext cx="0" cy="3729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B748569-C10E-47ED-9E2E-93176C678D20}"/>
              </a:ext>
            </a:extLst>
          </p:cNvPr>
          <p:cNvGrpSpPr/>
          <p:nvPr/>
        </p:nvGrpSpPr>
        <p:grpSpPr>
          <a:xfrm rot="10800000">
            <a:off x="6619454" y="4272229"/>
            <a:ext cx="742533" cy="1083723"/>
            <a:chOff x="2534223" y="4111216"/>
            <a:chExt cx="697327" cy="1017746"/>
          </a:xfrm>
        </p:grpSpPr>
        <p:sp>
          <p:nvSpPr>
            <p:cNvPr id="79" name="Oval 31">
              <a:extLst>
                <a:ext uri="{FF2B5EF4-FFF2-40B4-BE49-F238E27FC236}">
                  <a16:creationId xmlns:a16="http://schemas.microsoft.com/office/drawing/2014/main" id="{8751A7CF-70CB-4BB1-B2B3-8AED7C33BCD2}"/>
                </a:ext>
              </a:extLst>
            </p:cNvPr>
            <p:cNvSpPr/>
            <p:nvPr/>
          </p:nvSpPr>
          <p:spPr>
            <a:xfrm>
              <a:off x="2534223" y="4111216"/>
              <a:ext cx="697327" cy="1017746"/>
            </a:xfrm>
            <a:custGeom>
              <a:avLst/>
              <a:gdLst>
                <a:gd name="connsiteX0" fmla="*/ 0 w 638355"/>
                <a:gd name="connsiteY0" fmla="*/ 319178 h 638355"/>
                <a:gd name="connsiteX1" fmla="*/ 319178 w 638355"/>
                <a:gd name="connsiteY1" fmla="*/ 0 h 638355"/>
                <a:gd name="connsiteX2" fmla="*/ 638356 w 638355"/>
                <a:gd name="connsiteY2" fmla="*/ 319178 h 638355"/>
                <a:gd name="connsiteX3" fmla="*/ 319178 w 638355"/>
                <a:gd name="connsiteY3" fmla="*/ 638356 h 638355"/>
                <a:gd name="connsiteX4" fmla="*/ 0 w 638355"/>
                <a:gd name="connsiteY4" fmla="*/ 319178 h 638355"/>
                <a:gd name="connsiteX0" fmla="*/ 47 w 638403"/>
                <a:gd name="connsiteY0" fmla="*/ 319178 h 931654"/>
                <a:gd name="connsiteX1" fmla="*/ 319225 w 638403"/>
                <a:gd name="connsiteY1" fmla="*/ 0 h 931654"/>
                <a:gd name="connsiteX2" fmla="*/ 638403 w 638403"/>
                <a:gd name="connsiteY2" fmla="*/ 319178 h 931654"/>
                <a:gd name="connsiteX3" fmla="*/ 301973 w 638403"/>
                <a:gd name="connsiteY3" fmla="*/ 931654 h 931654"/>
                <a:gd name="connsiteX4" fmla="*/ 47 w 638403"/>
                <a:gd name="connsiteY4" fmla="*/ 319178 h 931654"/>
                <a:gd name="connsiteX0" fmla="*/ 24 w 638380"/>
                <a:gd name="connsiteY0" fmla="*/ 319178 h 931713"/>
                <a:gd name="connsiteX1" fmla="*/ 319202 w 638380"/>
                <a:gd name="connsiteY1" fmla="*/ 0 h 931713"/>
                <a:gd name="connsiteX2" fmla="*/ 638380 w 638380"/>
                <a:gd name="connsiteY2" fmla="*/ 319178 h 931713"/>
                <a:gd name="connsiteX3" fmla="*/ 301950 w 638380"/>
                <a:gd name="connsiteY3" fmla="*/ 931654 h 931713"/>
                <a:gd name="connsiteX4" fmla="*/ 24 w 638380"/>
                <a:gd name="connsiteY4" fmla="*/ 319178 h 93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380" h="931713">
                  <a:moveTo>
                    <a:pt x="24" y="319178"/>
                  </a:moveTo>
                  <a:cubicBezTo>
                    <a:pt x="2899" y="163902"/>
                    <a:pt x="142925" y="0"/>
                    <a:pt x="319202" y="0"/>
                  </a:cubicBezTo>
                  <a:cubicBezTo>
                    <a:pt x="495479" y="0"/>
                    <a:pt x="638380" y="142901"/>
                    <a:pt x="638380" y="319178"/>
                  </a:cubicBezTo>
                  <a:cubicBezTo>
                    <a:pt x="638380" y="495455"/>
                    <a:pt x="341661" y="937591"/>
                    <a:pt x="301950" y="931654"/>
                  </a:cubicBezTo>
                  <a:cubicBezTo>
                    <a:pt x="262239" y="925717"/>
                    <a:pt x="-2851" y="474454"/>
                    <a:pt x="24" y="31917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AD7A1E90-A259-40F3-BC6F-63B50AE7FDC3}"/>
                </a:ext>
              </a:extLst>
            </p:cNvPr>
            <p:cNvSpPr/>
            <p:nvPr/>
          </p:nvSpPr>
          <p:spPr>
            <a:xfrm rot="10800000">
              <a:off x="2623668" y="4236104"/>
              <a:ext cx="518434" cy="5184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</p:grp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37117FE4-5E73-42AC-947E-04255FA12B01}"/>
              </a:ext>
            </a:extLst>
          </p:cNvPr>
          <p:cNvCxnSpPr>
            <a:cxnSpLocks/>
          </p:cNvCxnSpPr>
          <p:nvPr/>
        </p:nvCxnSpPr>
        <p:spPr>
          <a:xfrm flipV="1">
            <a:off x="11119773" y="3079543"/>
            <a:ext cx="0" cy="3729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A9C7232-FF28-4DC4-9641-D592205CACA9}"/>
              </a:ext>
            </a:extLst>
          </p:cNvPr>
          <p:cNvCxnSpPr>
            <a:cxnSpLocks/>
          </p:cNvCxnSpPr>
          <p:nvPr/>
        </p:nvCxnSpPr>
        <p:spPr>
          <a:xfrm>
            <a:off x="448028" y="1343025"/>
            <a:ext cx="11295944" cy="0"/>
          </a:xfrm>
          <a:prstGeom prst="straightConnector1">
            <a:avLst/>
          </a:prstGeom>
          <a:ln w="28575">
            <a:prstDash val="sysDash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3FA9805-C8FC-4B5D-B96A-756A9D946E31}"/>
              </a:ext>
            </a:extLst>
          </p:cNvPr>
          <p:cNvSpPr txBox="1"/>
          <p:nvPr/>
        </p:nvSpPr>
        <p:spPr>
          <a:xfrm>
            <a:off x="10006920" y="1199604"/>
            <a:ext cx="1289087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C6AC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Шесть лет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C6AC0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44EC35FC-815A-4A0B-BB1D-C7E9879B7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1BFCC-55BC-40F4-8FA6-904A99D9D7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646AB6E6-805D-4554-97BC-6E83EB20E682}"/>
              </a:ext>
            </a:extLst>
          </p:cNvPr>
          <p:cNvSpPr txBox="1"/>
          <p:nvPr/>
        </p:nvSpPr>
        <p:spPr>
          <a:xfrm>
            <a:off x="1558840" y="1217362"/>
            <a:ext cx="1373741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C6AC0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дготовка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C6AC0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48078206-1DEA-46C7-9168-E059E9162398}"/>
              </a:ext>
            </a:extLst>
          </p:cNvPr>
          <p:cNvSpPr txBox="1"/>
          <p:nvPr/>
        </p:nvSpPr>
        <p:spPr>
          <a:xfrm>
            <a:off x="5169245" y="1199604"/>
            <a:ext cx="1653874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i="1" dirty="0">
                <a:solidFill>
                  <a:srgbClr val="C6AC0F"/>
                </a:solidFill>
                <a:latin typeface="Arial" panose="020B0604020202020204"/>
              </a:rPr>
              <a:t>Осуществление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C6AC0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054848E-858D-43DB-8B08-1EC3153CE9DD}"/>
              </a:ext>
            </a:extLst>
          </p:cNvPr>
          <p:cNvCxnSpPr>
            <a:cxnSpLocks/>
          </p:cNvCxnSpPr>
          <p:nvPr/>
        </p:nvCxnSpPr>
        <p:spPr>
          <a:xfrm flipV="1">
            <a:off x="4426527" y="1343025"/>
            <a:ext cx="0" cy="3004371"/>
          </a:xfrm>
          <a:prstGeom prst="line">
            <a:avLst/>
          </a:prstGeom>
          <a:ln w="28575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5335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574BDA22-433E-44CA-86EF-8E277F5647D0}"/>
              </a:ext>
            </a:extLst>
          </p:cNvPr>
          <p:cNvGrpSpPr/>
          <p:nvPr/>
        </p:nvGrpSpPr>
        <p:grpSpPr>
          <a:xfrm>
            <a:off x="633986" y="2094205"/>
            <a:ext cx="10709299" cy="3430637"/>
            <a:chOff x="154698" y="2495546"/>
            <a:chExt cx="9706783" cy="3100392"/>
          </a:xfrm>
        </p:grpSpPr>
        <p:sp>
          <p:nvSpPr>
            <p:cNvPr id="4" name="Arrow: Chevron 3">
              <a:extLst>
                <a:ext uri="{FF2B5EF4-FFF2-40B4-BE49-F238E27FC236}">
                  <a16:creationId xmlns:a16="http://schemas.microsoft.com/office/drawing/2014/main" id="{B6E892F6-ABCA-41CB-AAA5-A2F9AB11CB4B}"/>
                </a:ext>
              </a:extLst>
            </p:cNvPr>
            <p:cNvSpPr/>
            <p:nvPr/>
          </p:nvSpPr>
          <p:spPr>
            <a:xfrm>
              <a:off x="3743326" y="2495546"/>
              <a:ext cx="2895600" cy="1609725"/>
            </a:xfrm>
            <a:prstGeom prst="chevron">
              <a:avLst>
                <a:gd name="adj" fmla="val 12721"/>
              </a:avLst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Подготовка</a:t>
              </a:r>
              <a:endParaRPr lang="en-US" sz="3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/>
              <a:r>
                <a:rPr lang="ru-RU" sz="16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ъединить приоритеты избирательных групп и анализ данных</a:t>
              </a:r>
            </a:p>
          </p:txBody>
        </p:sp>
        <p:sp>
          <p:nvSpPr>
            <p:cNvPr id="5" name="Arrow: Pentagon 4">
              <a:extLst>
                <a:ext uri="{FF2B5EF4-FFF2-40B4-BE49-F238E27FC236}">
                  <a16:creationId xmlns:a16="http://schemas.microsoft.com/office/drawing/2014/main" id="{CAC4F315-A548-41BC-98B0-BF295C1B6ADA}"/>
                </a:ext>
              </a:extLst>
            </p:cNvPr>
            <p:cNvSpPr/>
            <p:nvPr/>
          </p:nvSpPr>
          <p:spPr>
            <a:xfrm>
              <a:off x="514356" y="2495548"/>
              <a:ext cx="3329424" cy="1609725"/>
            </a:xfrm>
            <a:prstGeom prst="homePlate">
              <a:avLst>
                <a:gd name="adj" fmla="val 11538"/>
              </a:avLst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Представитель-ство</a:t>
              </a:r>
              <a:endParaRPr lang="en-US" sz="3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600" i="1" dirty="0">
                  <a:latin typeface="Arial" panose="020B0604020202020204" pitchFamily="34" charset="0"/>
                  <a:cs typeface="Arial" panose="020B0604020202020204" pitchFamily="34" charset="0"/>
                </a:rPr>
                <a:t>Отразить различные точки зрения избирательных групп</a:t>
              </a:r>
              <a:endParaRPr lang="en-US" sz="16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2DC437F-A807-4E40-B18F-5E9329F884F7}"/>
                </a:ext>
              </a:extLst>
            </p:cNvPr>
            <p:cNvSpPr/>
            <p:nvPr/>
          </p:nvSpPr>
          <p:spPr>
            <a:xfrm>
              <a:off x="1181099" y="4348160"/>
              <a:ext cx="7924802" cy="1247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муникация</a:t>
              </a:r>
              <a:endParaRPr lang="en-US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ивный, непрерывный сбор данных, предоставляемых избирательными группами, с учетом проблем и возможностей в области осуществления; регулярная обратная связь по ключевым решениям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4414276C-BE63-40BD-A13F-5033BB8589FB}"/>
                </a:ext>
              </a:extLst>
            </p:cNvPr>
            <p:cNvSpPr/>
            <p:nvPr/>
          </p:nvSpPr>
          <p:spPr>
            <a:xfrm>
              <a:off x="6543675" y="2495546"/>
              <a:ext cx="2990850" cy="1609725"/>
            </a:xfrm>
            <a:prstGeom prst="chevron">
              <a:avLst>
                <a:gd name="adj" fmla="val 12721"/>
              </a:avLst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Участие</a:t>
              </a:r>
              <a:endParaRPr lang="en-US" sz="3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/>
              <a:r>
                <a:rPr lang="ru-RU" sz="1600" i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целить на диалог, включить в процесс принятия решений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DF1B8398-163E-44DE-9F4D-907BC66C3727}"/>
                </a:ext>
              </a:extLst>
            </p:cNvPr>
            <p:cNvCxnSpPr>
              <a:cxnSpLocks/>
            </p:cNvCxnSpPr>
            <p:nvPr/>
          </p:nvCxnSpPr>
          <p:spPr>
            <a:xfrm>
              <a:off x="9861481" y="3295645"/>
              <a:ext cx="0" cy="1676402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88858E2-A3BE-4398-97E1-546D4789443D}"/>
                </a:ext>
              </a:extLst>
            </p:cNvPr>
            <p:cNvCxnSpPr>
              <a:cxnSpLocks/>
            </p:cNvCxnSpPr>
            <p:nvPr/>
          </p:nvCxnSpPr>
          <p:spPr>
            <a:xfrm>
              <a:off x="9328081" y="4972047"/>
              <a:ext cx="533400" cy="0"/>
            </a:xfrm>
            <a:prstGeom prst="line">
              <a:avLst/>
            </a:prstGeom>
            <a:ln w="28575">
              <a:headEnd type="arrow" w="med" len="med"/>
              <a:tailEnd type="none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C89B6A5-277B-4462-A444-598ED27260FA}"/>
                </a:ext>
              </a:extLst>
            </p:cNvPr>
            <p:cNvCxnSpPr>
              <a:cxnSpLocks/>
            </p:cNvCxnSpPr>
            <p:nvPr/>
          </p:nvCxnSpPr>
          <p:spPr>
            <a:xfrm>
              <a:off x="173937" y="3295647"/>
              <a:ext cx="0" cy="1676402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FF34EB2-6FEF-4508-846A-F8951536E0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4698" y="4972049"/>
              <a:ext cx="619125" cy="4762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4C54C45-CA2F-4F97-909F-4272B43E9C3B}"/>
                </a:ext>
              </a:extLst>
            </p:cNvPr>
            <p:cNvCxnSpPr>
              <a:cxnSpLocks/>
            </p:cNvCxnSpPr>
            <p:nvPr/>
          </p:nvCxnSpPr>
          <p:spPr>
            <a:xfrm>
              <a:off x="173937" y="3295645"/>
              <a:ext cx="238119" cy="2"/>
            </a:xfrm>
            <a:prstGeom prst="line">
              <a:avLst/>
            </a:prstGeom>
            <a:ln w="28575">
              <a:headEnd type="none" w="med" len="med"/>
              <a:tailEnd type="arrow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B2F62173-372E-4E9A-B9B4-9638DB54FE83}"/>
                </a:ext>
              </a:extLst>
            </p:cNvPr>
            <p:cNvCxnSpPr>
              <a:cxnSpLocks/>
            </p:cNvCxnSpPr>
            <p:nvPr/>
          </p:nvCxnSpPr>
          <p:spPr>
            <a:xfrm>
              <a:off x="5143500" y="3881745"/>
              <a:ext cx="0" cy="513730"/>
            </a:xfrm>
            <a:prstGeom prst="straightConnector1">
              <a:avLst/>
            </a:prstGeom>
            <a:ln w="28575">
              <a:headEnd type="arrow" w="med" len="med"/>
              <a:tailEnd type="arrow" w="med" len="med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6E3DEF9-2248-462C-A88E-81772C996466}"/>
                </a:ext>
              </a:extLst>
            </p:cNvPr>
            <p:cNvCxnSpPr>
              <a:cxnSpLocks/>
            </p:cNvCxnSpPr>
            <p:nvPr/>
          </p:nvCxnSpPr>
          <p:spPr>
            <a:xfrm>
              <a:off x="9709495" y="3295645"/>
              <a:ext cx="151986" cy="0"/>
            </a:xfrm>
            <a:prstGeom prst="line">
              <a:avLst/>
            </a:prstGeom>
            <a:ln w="28575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5E58F325-E268-4ED9-B978-B212EB71DE52}"/>
              </a:ext>
            </a:extLst>
          </p:cNvPr>
          <p:cNvSpPr txBox="1">
            <a:spLocks/>
          </p:cNvSpPr>
          <p:nvPr/>
        </p:nvSpPr>
        <p:spPr>
          <a:xfrm>
            <a:off x="248297" y="334163"/>
            <a:ext cx="11695406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влеченность</a:t>
            </a:r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 способствует </a:t>
            </a:r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конструктивному  участию </a:t>
            </a:r>
            <a:r>
              <a:rPr lang="ru-RU" sz="3600" i="1" dirty="0">
                <a:latin typeface="Arial" panose="020B0604020202020204" pitchFamily="34" charset="0"/>
                <a:cs typeface="Arial" panose="020B0604020202020204" pitchFamily="34" charset="0"/>
              </a:rPr>
              <a:t>всех</a:t>
            </a:r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 избирательных групп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070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4666AF-ACFC-4A52-ABA9-AD9BF0F29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908" y="148428"/>
            <a:ext cx="11738429" cy="1325563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зор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направлен на основные </a:t>
            </a: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ые, программные и управленческие аспекты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 инвестиций в целях коллективного повышения эффективности 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86B3427-6BE4-46F9-9C72-A582DC43E82C}"/>
              </a:ext>
            </a:extLst>
          </p:cNvPr>
          <p:cNvCxnSpPr/>
          <p:nvPr/>
        </p:nvCxnSpPr>
        <p:spPr>
          <a:xfrm flipV="1">
            <a:off x="302908" y="1684002"/>
            <a:ext cx="0" cy="264748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BADA92A-FF77-4E4D-AD28-7F0EEFD3ACBB}"/>
              </a:ext>
            </a:extLst>
          </p:cNvPr>
          <p:cNvCxnSpPr>
            <a:cxnSpLocks/>
          </p:cNvCxnSpPr>
          <p:nvPr/>
        </p:nvCxnSpPr>
        <p:spPr>
          <a:xfrm>
            <a:off x="302908" y="1685474"/>
            <a:ext cx="5570895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6666D17-8599-49C6-8ACF-C3120B343EE2}"/>
              </a:ext>
            </a:extLst>
          </p:cNvPr>
          <p:cNvSpPr txBox="1"/>
          <p:nvPr/>
        </p:nvSpPr>
        <p:spPr>
          <a:xfrm>
            <a:off x="653721" y="1880915"/>
            <a:ext cx="5173432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стратегическую направленность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храняя национальные стратегические планы в центре внимания</a:t>
            </a:r>
          </a:p>
          <a:p>
            <a:pPr lvl="0">
              <a:defRPr/>
            </a:pP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ть данные и фактические материалы для осуществления надзора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оддержке сотрудников, занимающихся вопросами надзора</a:t>
            </a:r>
          </a:p>
          <a:p>
            <a:pPr lvl="0">
              <a:defRPr/>
            </a:pP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активно </a:t>
            </a: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леживать выполнение обязательств по совместному финансированию</a:t>
            </a:r>
          </a:p>
          <a:p>
            <a:pPr lvl="0">
              <a:defRPr/>
            </a:pP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оить управление рисками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надзорную функцию</a:t>
            </a:r>
          </a:p>
          <a:p>
            <a:pPr lvl="0">
              <a:defRPr/>
            </a:pP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ь совместный подход к решению проблем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е с основными реципиентами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CB3677-C40C-41BD-B706-FBE776491C32}"/>
              </a:ext>
            </a:extLst>
          </p:cNvPr>
          <p:cNvSpPr txBox="1"/>
          <p:nvPr/>
        </p:nvSpPr>
        <p:spPr>
          <a:xfrm rot="16200000">
            <a:off x="-1310896" y="3471139"/>
            <a:ext cx="3276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i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овы ожидания</a:t>
            </a:r>
            <a:endParaRPr kumimoji="0" lang="en-US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71E4582-A1C8-4367-8234-3E8896D47F07}"/>
              </a:ext>
            </a:extLst>
          </p:cNvPr>
          <p:cNvSpPr txBox="1"/>
          <p:nvPr/>
        </p:nvSpPr>
        <p:spPr>
          <a:xfrm>
            <a:off x="6683964" y="1570059"/>
            <a:ext cx="5508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i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 выглядеть успех?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19AA055-517F-4E04-8E7D-B2AB035588A3}"/>
              </a:ext>
            </a:extLst>
          </p:cNvPr>
          <p:cNvCxnSpPr>
            <a:cxnSpLocks/>
          </p:cNvCxnSpPr>
          <p:nvPr/>
        </p:nvCxnSpPr>
        <p:spPr>
          <a:xfrm>
            <a:off x="5873803" y="2353491"/>
            <a:ext cx="0" cy="3520995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75DA46C-3A2A-42F7-B194-486E43C4B0FD}"/>
              </a:ext>
            </a:extLst>
          </p:cNvPr>
          <p:cNvCxnSpPr/>
          <p:nvPr/>
        </p:nvCxnSpPr>
        <p:spPr>
          <a:xfrm>
            <a:off x="5873803" y="2353491"/>
            <a:ext cx="226502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69F62F6-3895-4842-8A63-5B3EC627AFBB}"/>
              </a:ext>
            </a:extLst>
          </p:cNvPr>
          <p:cNvCxnSpPr/>
          <p:nvPr/>
        </p:nvCxnSpPr>
        <p:spPr>
          <a:xfrm>
            <a:off x="5873803" y="5294236"/>
            <a:ext cx="226502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AC6B3BE-C725-4405-A3E9-1C205532688C}"/>
              </a:ext>
            </a:extLst>
          </p:cNvPr>
          <p:cNvCxnSpPr/>
          <p:nvPr/>
        </p:nvCxnSpPr>
        <p:spPr>
          <a:xfrm>
            <a:off x="5873803" y="3429000"/>
            <a:ext cx="226502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8C178B5A-7B88-4541-B9A0-47A0DC835AB5}"/>
              </a:ext>
            </a:extLst>
          </p:cNvPr>
          <p:cNvSpPr/>
          <p:nvPr/>
        </p:nvSpPr>
        <p:spPr>
          <a:xfrm>
            <a:off x="6096000" y="2093725"/>
            <a:ext cx="6010190" cy="4234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се решения СКК </a:t>
            </a:r>
            <a:r>
              <a:rPr lang="ru-RU" b="1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основаны на стратегической информации</a:t>
            </a: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endParaRPr lang="en-US" sz="800" b="1" dirty="0"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принятия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боснованных решений принята практика использования стратегических данных</a:t>
            </a: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endParaRPr lang="en-US" sz="800" b="1" dirty="0"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СКК являются самостоятельными </a:t>
            </a:r>
            <a:r>
              <a:rPr lang="ru-RU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 осуществлении надзора; сотрудники по надзору переведены в категорию штатных сотрудников</a:t>
            </a:r>
            <a:endParaRPr lang="en-US" dirty="0"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800" b="1" dirty="0"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 основе </a:t>
            </a:r>
            <a:r>
              <a:rPr lang="ru-RU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деятельности</a:t>
            </a:r>
            <a:r>
              <a:rPr lang="ru-RU" b="1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 лежит управление рисками</a:t>
            </a: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endParaRPr lang="en-US" sz="800" dirty="0"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marL="285750" indent="-285750">
              <a:lnSpc>
                <a:spcPts val="19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заимоотношения между основными реципиентами и СКК </a:t>
            </a:r>
            <a:r>
              <a:rPr lang="ru-RU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строятся на основе сотрудничества и взаимодополняемости</a:t>
            </a: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MS Gothic" panose="020B0609070205080204" pitchFamily="49" charset="-128"/>
              <a:cs typeface="Times New Roman" panose="02020603050405020304" pitchFamily="18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7AE796C-4C60-47DD-86B1-9F7AD2E16CCD}"/>
              </a:ext>
            </a:extLst>
          </p:cNvPr>
          <p:cNvCxnSpPr>
            <a:cxnSpLocks/>
          </p:cNvCxnSpPr>
          <p:nvPr/>
        </p:nvCxnSpPr>
        <p:spPr>
          <a:xfrm>
            <a:off x="5873803" y="5874486"/>
            <a:ext cx="226502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7" name="Graphic 56" descr="Target">
            <a:extLst>
              <a:ext uri="{FF2B5EF4-FFF2-40B4-BE49-F238E27FC236}">
                <a16:creationId xmlns:a16="http://schemas.microsoft.com/office/drawing/2014/main" id="{1D51B9BF-6212-4A4F-94D1-C71A6B12FA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049" y="5011376"/>
            <a:ext cx="565719" cy="565719"/>
          </a:xfrm>
          <a:prstGeom prst="rect">
            <a:avLst/>
          </a:prstGeom>
        </p:spPr>
      </p:pic>
      <p:pic>
        <p:nvPicPr>
          <p:cNvPr id="66" name="Graphic 65" descr="Ribbon">
            <a:extLst>
              <a:ext uri="{FF2B5EF4-FFF2-40B4-BE49-F238E27FC236}">
                <a16:creationId xmlns:a16="http://schemas.microsoft.com/office/drawing/2014/main" id="{7B0644DB-DFF1-4D9D-A9E1-227D7E0641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1157" y="1502542"/>
            <a:ext cx="627668" cy="6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3895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463565-FB27-4A71-94EE-C90E8DD1CE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463565-FB27-4A71-94EE-C90E8DD1C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67CD67-5F66-486E-9BF8-9148EC7F08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7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C37AC1-C152-455B-9794-03206233A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691E836E-074B-4881-AA5C-9570AEF73397}"/>
              </a:ext>
            </a:extLst>
          </p:cNvPr>
          <p:cNvSpPr txBox="1">
            <a:spLocks/>
          </p:cNvSpPr>
          <p:nvPr/>
        </p:nvSpPr>
        <p:spPr>
          <a:xfrm>
            <a:off x="1942648" y="6209534"/>
            <a:ext cx="8853179" cy="576000"/>
          </a:xfrm>
          <a:prstGeom prst="rect">
            <a:avLst/>
          </a:prstGeom>
        </p:spPr>
        <p:txBody>
          <a:bodyPr vert="horz" lIns="0" tIns="0" rIns="0" bIns="60960" rtlCol="0">
            <a:norm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ts val="0"/>
              </a:spcBef>
              <a:buFont typeface="Lucida Grande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lnSpc>
                <a:spcPts val="1400"/>
              </a:lnSpc>
              <a:spcBef>
                <a:spcPts val="0"/>
              </a:spcBef>
              <a:buFont typeface="Arial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133" b="1" dirty="0">
              <a:solidFill>
                <a:schemeClr val="accent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BCD990C-6E44-42DD-A111-BD37ED024D5E}"/>
              </a:ext>
            </a:extLst>
          </p:cNvPr>
          <p:cNvGrpSpPr/>
          <p:nvPr/>
        </p:nvGrpSpPr>
        <p:grpSpPr>
          <a:xfrm>
            <a:off x="3088455" y="2509462"/>
            <a:ext cx="8108559" cy="3408770"/>
            <a:chOff x="2829171" y="2416569"/>
            <a:chExt cx="8108559" cy="3408770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9BCEDD5-7DD8-4451-87F7-0D7D0A5B7BF2}"/>
                </a:ext>
              </a:extLst>
            </p:cNvPr>
            <p:cNvSpPr/>
            <p:nvPr/>
          </p:nvSpPr>
          <p:spPr>
            <a:xfrm>
              <a:off x="2837213" y="4407239"/>
              <a:ext cx="2347428" cy="1408457"/>
            </a:xfrm>
            <a:custGeom>
              <a:avLst/>
              <a:gdLst>
                <a:gd name="connsiteX0" fmla="*/ 0 w 2347428"/>
                <a:gd name="connsiteY0" fmla="*/ 0 h 1408457"/>
                <a:gd name="connsiteX1" fmla="*/ 2347428 w 2347428"/>
                <a:gd name="connsiteY1" fmla="*/ 0 h 1408457"/>
                <a:gd name="connsiteX2" fmla="*/ 2347428 w 2347428"/>
                <a:gd name="connsiteY2" fmla="*/ 1408457 h 1408457"/>
                <a:gd name="connsiteX3" fmla="*/ 0 w 2347428"/>
                <a:gd name="connsiteY3" fmla="*/ 1408457 h 1408457"/>
                <a:gd name="connsiteX4" fmla="*/ 0 w 2347428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428" h="1408457">
                  <a:moveTo>
                    <a:pt x="0" y="0"/>
                  </a:moveTo>
                  <a:lnTo>
                    <a:pt x="2347428" y="0"/>
                  </a:lnTo>
                  <a:lnTo>
                    <a:pt x="2347428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dirty="0">
                  <a:solidFill>
                    <a:schemeClr val="bg1"/>
                  </a:solidFill>
                </a:rPr>
                <a:t>Кодекс поведения для членов СКК</a:t>
              </a:r>
              <a:endParaRPr lang="en-US" sz="24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746A70A-6F89-43A6-8E18-B6DDC2C46FEE}"/>
                </a:ext>
              </a:extLst>
            </p:cNvPr>
            <p:cNvSpPr/>
            <p:nvPr/>
          </p:nvSpPr>
          <p:spPr>
            <a:xfrm>
              <a:off x="2829171" y="2416570"/>
              <a:ext cx="2347428" cy="1408457"/>
            </a:xfrm>
            <a:custGeom>
              <a:avLst/>
              <a:gdLst>
                <a:gd name="connsiteX0" fmla="*/ 0 w 2347428"/>
                <a:gd name="connsiteY0" fmla="*/ 0 h 1408457"/>
                <a:gd name="connsiteX1" fmla="*/ 2347428 w 2347428"/>
                <a:gd name="connsiteY1" fmla="*/ 0 h 1408457"/>
                <a:gd name="connsiteX2" fmla="*/ 2347428 w 2347428"/>
                <a:gd name="connsiteY2" fmla="*/ 1408457 h 1408457"/>
                <a:gd name="connsiteX3" fmla="*/ 0 w 2347428"/>
                <a:gd name="connsiteY3" fmla="*/ 1408457 h 1408457"/>
                <a:gd name="connsiteX4" fmla="*/ 0 w 2347428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428" h="1408457">
                  <a:moveTo>
                    <a:pt x="0" y="0"/>
                  </a:moveTo>
                  <a:lnTo>
                    <a:pt x="2347428" y="0"/>
                  </a:lnTo>
                  <a:lnTo>
                    <a:pt x="2347428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400" kern="1200" dirty="0"/>
                <a:t>Управление конфликтами интересов</a:t>
              </a:r>
              <a:endParaRPr lang="en-US" sz="2400" kern="120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CC639E9-7417-49BF-AD94-C5269DEB7251}"/>
                </a:ext>
              </a:extLst>
            </p:cNvPr>
            <p:cNvSpPr/>
            <p:nvPr/>
          </p:nvSpPr>
          <p:spPr>
            <a:xfrm>
              <a:off x="5532024" y="2416569"/>
              <a:ext cx="2727658" cy="1408457"/>
            </a:xfrm>
            <a:custGeom>
              <a:avLst/>
              <a:gdLst>
                <a:gd name="connsiteX0" fmla="*/ 0 w 2347428"/>
                <a:gd name="connsiteY0" fmla="*/ 0 h 1408457"/>
                <a:gd name="connsiteX1" fmla="*/ 2347428 w 2347428"/>
                <a:gd name="connsiteY1" fmla="*/ 0 h 1408457"/>
                <a:gd name="connsiteX2" fmla="*/ 2347428 w 2347428"/>
                <a:gd name="connsiteY2" fmla="*/ 1408457 h 1408457"/>
                <a:gd name="connsiteX3" fmla="*/ 0 w 2347428"/>
                <a:gd name="connsiteY3" fmla="*/ 1408457 h 1408457"/>
                <a:gd name="connsiteX4" fmla="*/ 0 w 2347428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428" h="1408457">
                  <a:moveTo>
                    <a:pt x="0" y="0"/>
                  </a:moveTo>
                  <a:lnTo>
                    <a:pt x="2347428" y="0"/>
                  </a:lnTo>
                  <a:lnTo>
                    <a:pt x="2347428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ts val="2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dirty="0">
                  <a:solidFill>
                    <a:prstClr val="white"/>
                  </a:solidFill>
                </a:rPr>
                <a:t>Принятие решений на основе этических принципов </a:t>
              </a:r>
              <a:endParaRPr lang="en-US" sz="2400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B410B41-EAB9-4331-9F34-F40DA3BAD3D0}"/>
                </a:ext>
              </a:extLst>
            </p:cNvPr>
            <p:cNvSpPr/>
            <p:nvPr/>
          </p:nvSpPr>
          <p:spPr>
            <a:xfrm>
              <a:off x="8590302" y="2416569"/>
              <a:ext cx="2347428" cy="1408457"/>
            </a:xfrm>
            <a:custGeom>
              <a:avLst/>
              <a:gdLst>
                <a:gd name="connsiteX0" fmla="*/ 0 w 2347428"/>
                <a:gd name="connsiteY0" fmla="*/ 0 h 1408457"/>
                <a:gd name="connsiteX1" fmla="*/ 2347428 w 2347428"/>
                <a:gd name="connsiteY1" fmla="*/ 0 h 1408457"/>
                <a:gd name="connsiteX2" fmla="*/ 2347428 w 2347428"/>
                <a:gd name="connsiteY2" fmla="*/ 1408457 h 1408457"/>
                <a:gd name="connsiteX3" fmla="*/ 0 w 2347428"/>
                <a:gd name="connsiteY3" fmla="*/ 1408457 h 1408457"/>
                <a:gd name="connsiteX4" fmla="*/ 0 w 2347428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428" h="1408457">
                  <a:moveTo>
                    <a:pt x="0" y="0"/>
                  </a:moveTo>
                  <a:lnTo>
                    <a:pt x="2347428" y="0"/>
                  </a:lnTo>
                  <a:lnTo>
                    <a:pt x="2347428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400" dirty="0">
                  <a:solidFill>
                    <a:schemeClr val="bg1"/>
                  </a:solidFill>
                  <a:latin typeface="Calibri" panose="020F0502020204030204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Комитет или координатор по этике</a:t>
              </a:r>
              <a:endParaRPr lang="en-US" sz="24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C16B15D-AFD4-4056-8180-479BE565EE29}"/>
                </a:ext>
              </a:extLst>
            </p:cNvPr>
            <p:cNvSpPr/>
            <p:nvPr/>
          </p:nvSpPr>
          <p:spPr>
            <a:xfrm>
              <a:off x="8590302" y="4416882"/>
              <a:ext cx="2347428" cy="1408457"/>
            </a:xfrm>
            <a:custGeom>
              <a:avLst/>
              <a:gdLst>
                <a:gd name="connsiteX0" fmla="*/ 0 w 2347428"/>
                <a:gd name="connsiteY0" fmla="*/ 0 h 1408457"/>
                <a:gd name="connsiteX1" fmla="*/ 2347428 w 2347428"/>
                <a:gd name="connsiteY1" fmla="*/ 0 h 1408457"/>
                <a:gd name="connsiteX2" fmla="*/ 2347428 w 2347428"/>
                <a:gd name="connsiteY2" fmla="*/ 1408457 h 1408457"/>
                <a:gd name="connsiteX3" fmla="*/ 0 w 2347428"/>
                <a:gd name="connsiteY3" fmla="*/ 1408457 h 1408457"/>
                <a:gd name="connsiteX4" fmla="*/ 0 w 2347428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428" h="1408457">
                  <a:moveTo>
                    <a:pt x="0" y="0"/>
                  </a:moveTo>
                  <a:lnTo>
                    <a:pt x="2347428" y="0"/>
                  </a:lnTo>
                  <a:lnTo>
                    <a:pt x="2347428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400" dirty="0">
                  <a:solidFill>
                    <a:schemeClr val="bg1"/>
                  </a:solidFill>
                  <a:latin typeface="Calibri" panose="020F0502020204030204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Веб-страница по вопросам этики в СКК</a:t>
              </a:r>
              <a:endParaRPr lang="en-US" sz="24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6F5E4AF-D34C-4134-A9F6-E1937C121880}"/>
                </a:ext>
              </a:extLst>
            </p:cNvPr>
            <p:cNvSpPr/>
            <p:nvPr/>
          </p:nvSpPr>
          <p:spPr>
            <a:xfrm>
              <a:off x="5540065" y="4416882"/>
              <a:ext cx="2719617" cy="1408457"/>
            </a:xfrm>
            <a:custGeom>
              <a:avLst/>
              <a:gdLst>
                <a:gd name="connsiteX0" fmla="*/ 0 w 2286254"/>
                <a:gd name="connsiteY0" fmla="*/ 0 h 1408457"/>
                <a:gd name="connsiteX1" fmla="*/ 2286254 w 2286254"/>
                <a:gd name="connsiteY1" fmla="*/ 0 h 1408457"/>
                <a:gd name="connsiteX2" fmla="*/ 2286254 w 2286254"/>
                <a:gd name="connsiteY2" fmla="*/ 1408457 h 1408457"/>
                <a:gd name="connsiteX3" fmla="*/ 0 w 2286254"/>
                <a:gd name="connsiteY3" fmla="*/ 1408457 h 1408457"/>
                <a:gd name="connsiteX4" fmla="*/ 0 w 2286254"/>
                <a:gd name="connsiteY4" fmla="*/ 0 h 1408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254" h="1408457">
                  <a:moveTo>
                    <a:pt x="0" y="0"/>
                  </a:moveTo>
                  <a:lnTo>
                    <a:pt x="2286254" y="0"/>
                  </a:lnTo>
                  <a:lnTo>
                    <a:pt x="2286254" y="1408457"/>
                  </a:lnTo>
                  <a:lnTo>
                    <a:pt x="0" y="14084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ts val="2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dirty="0">
                  <a:solidFill>
                    <a:schemeClr val="bg1"/>
                  </a:solidFill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Пакет модулей электронного обучения по применению Кодекса поведения</a:t>
              </a:r>
              <a:endParaRPr lang="en-US" sz="2400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2A7E20A-B9D6-4B7A-8C41-0942CAAADDDF}"/>
              </a:ext>
            </a:extLst>
          </p:cNvPr>
          <p:cNvSpPr txBox="1"/>
          <p:nvPr/>
        </p:nvSpPr>
        <p:spPr>
          <a:xfrm>
            <a:off x="847767" y="2963372"/>
            <a:ext cx="2062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Ключевые элементы</a:t>
            </a:r>
            <a:endParaRPr lang="en-US" sz="24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974AE5D-E6CF-4DF6-90D0-A34A17FE7595}"/>
              </a:ext>
            </a:extLst>
          </p:cNvPr>
          <p:cNvSpPr txBox="1"/>
          <p:nvPr/>
        </p:nvSpPr>
        <p:spPr>
          <a:xfrm>
            <a:off x="847767" y="4700495"/>
            <a:ext cx="2062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Ресурсы и инструменты</a:t>
            </a:r>
            <a:endParaRPr lang="en-US" sz="2400" b="1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9A9FCBC-3CFA-48CF-B723-5A381177C6CD}"/>
              </a:ext>
            </a:extLst>
          </p:cNvPr>
          <p:cNvSpPr/>
          <p:nvPr/>
        </p:nvSpPr>
        <p:spPr>
          <a:xfrm>
            <a:off x="2921874" y="2383499"/>
            <a:ext cx="382772" cy="308341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6558D5A-C785-482B-94E6-1FB1A0B2AEFB}"/>
              </a:ext>
            </a:extLst>
          </p:cNvPr>
          <p:cNvSpPr/>
          <p:nvPr/>
        </p:nvSpPr>
        <p:spPr>
          <a:xfrm>
            <a:off x="5607963" y="2383499"/>
            <a:ext cx="382772" cy="26895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FB269A9-AC22-45ED-82CB-AE04F6E611DD}"/>
              </a:ext>
            </a:extLst>
          </p:cNvPr>
          <p:cNvSpPr/>
          <p:nvPr/>
        </p:nvSpPr>
        <p:spPr>
          <a:xfrm>
            <a:off x="8683005" y="2383499"/>
            <a:ext cx="382772" cy="308341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BBB9997-F049-4A9F-8C76-1128C9DAC73E}"/>
              </a:ext>
            </a:extLst>
          </p:cNvPr>
          <p:cNvCxnSpPr>
            <a:cxnSpLocks/>
          </p:cNvCxnSpPr>
          <p:nvPr/>
        </p:nvCxnSpPr>
        <p:spPr>
          <a:xfrm>
            <a:off x="836934" y="4205551"/>
            <a:ext cx="10518132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597AB5C-C75F-46C6-826B-6C16C56CF3F9}"/>
              </a:ext>
            </a:extLst>
          </p:cNvPr>
          <p:cNvSpPr txBox="1"/>
          <p:nvPr/>
        </p:nvSpPr>
        <p:spPr>
          <a:xfrm flipH="1">
            <a:off x="161658" y="151048"/>
            <a:ext cx="11868684" cy="2161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b="1" dirty="0">
                <a:latin typeface="Arial" panose="020B0604020202020204" pitchFamily="34" charset="0"/>
                <a:cs typeface="Arial" panose="020B0604020202020204" pitchFamily="34" charset="0"/>
              </a:rPr>
              <a:t>Принятие </a:t>
            </a:r>
            <a:r>
              <a:rPr lang="ru-RU" sz="3000" dirty="0">
                <a:latin typeface="Arial" panose="020B0604020202020204" pitchFamily="34" charset="0"/>
                <a:cs typeface="Arial" panose="020B0604020202020204" pitchFamily="34" charset="0"/>
              </a:rPr>
              <a:t>СКК</a:t>
            </a:r>
            <a:r>
              <a:rPr lang="ru-RU" sz="3000" b="1" dirty="0">
                <a:latin typeface="Arial" panose="020B0604020202020204" pitchFamily="34" charset="0"/>
                <a:cs typeface="Arial" panose="020B0604020202020204" pitchFamily="34" charset="0"/>
              </a:rPr>
              <a:t> решений на основе этических принципов </a:t>
            </a:r>
            <a:r>
              <a:rPr lang="ru-RU" sz="3000" dirty="0">
                <a:latin typeface="Arial" panose="020B0604020202020204" pitchFamily="34" charset="0"/>
                <a:cs typeface="Arial" panose="020B0604020202020204" pitchFamily="34" charset="0"/>
              </a:rPr>
              <a:t>является ключевым фактором для содействия борьбе против ВИЧ, туберкулеза и малярии</a:t>
            </a:r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000" dirty="0">
                <a:latin typeface="+mj-lt"/>
              </a:rPr>
              <a:t> </a:t>
            </a:r>
          </a:p>
          <a:p>
            <a:endParaRPr lang="en-US" sz="1200" b="1" i="1" dirty="0">
              <a:latin typeface="+mj-lt"/>
            </a:endParaRPr>
          </a:p>
          <a:p>
            <a:pPr>
              <a:lnSpc>
                <a:spcPts val="2800"/>
              </a:lnSpc>
            </a:pPr>
            <a:r>
              <a:rPr lang="ru-RU" sz="3000" dirty="0">
                <a:latin typeface="+mj-lt"/>
              </a:rPr>
              <a:t>СКК следуют самым высоким стандартам в области этики и добросовестности</a:t>
            </a:r>
          </a:p>
        </p:txBody>
      </p:sp>
    </p:spTree>
    <p:extLst>
      <p:ext uri="{BB962C8B-B14F-4D97-AF65-F5344CB8AC3E}">
        <p14:creationId xmlns:p14="http://schemas.microsoft.com/office/powerpoint/2010/main" val="24391567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F4F77-F284-4064-AE79-F91096E96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709" y="367034"/>
            <a:ext cx="12108668" cy="936104"/>
          </a:xfrm>
        </p:spPr>
        <p:txBody>
          <a:bodyPr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Порог определяет, на чем СКК фокусирует свою среднесрочную </a:t>
            </a: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стратегию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DDEE8C5-EF15-4C44-A9A9-4589EA1AF5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09" y="1682518"/>
            <a:ext cx="11321516" cy="472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6484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3C6D6-65A5-4844-8C4D-982234429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429C8-3C94-4618-8712-4F46E0044B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31B58E3-F6B8-4F32-B2AD-03F2239DCD54}"/>
              </a:ext>
            </a:extLst>
          </p:cNvPr>
          <p:cNvCxnSpPr/>
          <p:nvPr/>
        </p:nvCxnSpPr>
        <p:spPr>
          <a:xfrm>
            <a:off x="906011" y="1619075"/>
            <a:ext cx="8883941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2EC9D53-B393-47B2-B5B8-106F9801E9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8497" y="1882486"/>
            <a:ext cx="10515600" cy="435133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ведение к вопросу о Развитии СКК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езюме пороговых результатов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en-US" sz="2400" dirty="0">
              <a:latin typeface="Arial" panose="020B0604020202020204" pitchFamily="34" charset="0"/>
              <a:ea typeface="+mj-lt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альнейшие действия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6844FE8-D722-4DF6-AED4-D8B612FA7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0" y="388534"/>
            <a:ext cx="11191880" cy="1325563"/>
          </a:xfrm>
        </p:spPr>
        <p:txBody>
          <a:bodyPr>
            <a:normAutofit/>
          </a:bodyPr>
          <a:lstStyle/>
          <a:p>
            <a:r>
              <a:rPr lang="ru-RU" sz="4000" dirty="0"/>
              <a:t>План</a:t>
            </a:r>
            <a:endParaRPr lang="en-US" sz="4000" b="1" u="sng" dirty="0"/>
          </a:p>
        </p:txBody>
      </p:sp>
    </p:spTree>
    <p:extLst>
      <p:ext uri="{BB962C8B-B14F-4D97-AF65-F5344CB8AC3E}">
        <p14:creationId xmlns:p14="http://schemas.microsoft.com/office/powerpoint/2010/main" val="6373088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AA107-2E51-4D7B-A0A1-FCD204926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386" y="377792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Дальнейшие действия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BDFEE-FF0C-40D9-A36D-AE6DB619AB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4853" y="1412241"/>
            <a:ext cx="11324761" cy="4521200"/>
          </a:xfrm>
        </p:spPr>
        <p:txBody>
          <a:bodyPr>
            <a:normAutofit/>
          </a:bodyPr>
          <a:lstStyle/>
          <a:p>
            <a:pPr>
              <a:buFontTx/>
              <a:buAutoNum type="arabicPeriod"/>
            </a:pPr>
            <a:r>
              <a:rPr lang="ru-RU" sz="2200" dirty="0"/>
              <a:t>Консультант информирует Глобальный фонд о </a:t>
            </a:r>
            <a:r>
              <a:rPr lang="ru-RU" sz="2200" b="1" dirty="0"/>
              <a:t>пороговых результатах и результатах вводного курса</a:t>
            </a:r>
          </a:p>
          <a:p>
            <a:pPr>
              <a:buFontTx/>
              <a:buAutoNum type="arabicPeriod"/>
            </a:pPr>
            <a:endParaRPr lang="ru-RU" sz="800" dirty="0"/>
          </a:p>
          <a:p>
            <a:pPr>
              <a:buFontTx/>
              <a:buAutoNum type="arabicPeriod"/>
            </a:pPr>
            <a:r>
              <a:rPr lang="ru-RU" sz="2200" dirty="0"/>
              <a:t>Глобальный фонд </a:t>
            </a:r>
            <a:r>
              <a:rPr lang="ru-RU" sz="2200" b="1" dirty="0"/>
              <a:t>утверждает пороговые значения и пакет мероприятий </a:t>
            </a:r>
            <a:r>
              <a:rPr lang="ru-RU" sz="2200" dirty="0"/>
              <a:t>и информирует об этом СКК</a:t>
            </a:r>
          </a:p>
          <a:p>
            <a:pPr>
              <a:buFontTx/>
              <a:buAutoNum type="arabicPeriod"/>
            </a:pPr>
            <a:endParaRPr lang="ru-RU" sz="800" dirty="0"/>
          </a:p>
          <a:p>
            <a:pPr>
              <a:buFontTx/>
              <a:buAutoNum type="arabicPeriod"/>
            </a:pPr>
            <a:r>
              <a:rPr lang="ru-RU" sz="2200" dirty="0"/>
              <a:t>Секретариат СКК использует утвержденный пакет для </a:t>
            </a:r>
            <a:r>
              <a:rPr lang="ru-RU" sz="2200" b="1" dirty="0"/>
              <a:t>перераспределения плана работы с указанием сметных расходов</a:t>
            </a:r>
            <a:r>
              <a:rPr lang="ru-RU" sz="2200" dirty="0"/>
              <a:t> и представляет его председателю СКК</a:t>
            </a:r>
          </a:p>
          <a:p>
            <a:pPr>
              <a:buFontTx/>
              <a:buAutoNum type="arabicPeriod"/>
            </a:pPr>
            <a:endParaRPr lang="ru-RU" sz="800" dirty="0"/>
          </a:p>
          <a:p>
            <a:pPr>
              <a:buFontTx/>
              <a:buAutoNum type="arabicPeriod"/>
            </a:pPr>
            <a:r>
              <a:rPr lang="ru-RU" sz="2200" dirty="0"/>
              <a:t>Секретариат СКК информирует о результатах вводного курса, утвержденных областях и мероприятиях всех членов СКК для получения </a:t>
            </a:r>
            <a:r>
              <a:rPr lang="ru-RU" sz="2200" b="1" dirty="0"/>
              <a:t>одобрения</a:t>
            </a:r>
            <a:endParaRPr lang="en-US" sz="2200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55785E-2407-4137-A176-AF6EC6BF2C65}"/>
              </a:ext>
            </a:extLst>
          </p:cNvPr>
          <p:cNvSpPr/>
          <p:nvPr/>
        </p:nvSpPr>
        <p:spPr>
          <a:xfrm>
            <a:off x="0" y="5933441"/>
            <a:ext cx="12192001" cy="6846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i="1" dirty="0">
                <a:solidFill>
                  <a:prstClr val="white"/>
                </a:solidFill>
              </a:rPr>
              <a:t>Предложение: СКК назначает координаторов для каждой области развития, чтобы контролировать осуществление приоритезированных мероприятий</a:t>
            </a:r>
          </a:p>
        </p:txBody>
      </p:sp>
    </p:spTree>
    <p:extLst>
      <p:ext uri="{BB962C8B-B14F-4D97-AF65-F5344CB8AC3E}">
        <p14:creationId xmlns:p14="http://schemas.microsoft.com/office/powerpoint/2010/main" val="32261959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CE786A-F469-4523-BB5E-8AD2A15F1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886" y="152871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Ресурсы для СКК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6A3268-5F9B-464D-868A-FB34826F84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301"/>
          <a:stretch/>
        </p:blipFill>
        <p:spPr>
          <a:xfrm>
            <a:off x="447675" y="1276350"/>
            <a:ext cx="4810125" cy="5010149"/>
          </a:xfrm>
          <a:prstGeom prst="rect">
            <a:avLst/>
          </a:prstGeom>
        </p:spPr>
      </p:pic>
      <p:sp>
        <p:nvSpPr>
          <p:cNvPr id="8" name="Arrow: Chevron 7">
            <a:extLst>
              <a:ext uri="{FF2B5EF4-FFF2-40B4-BE49-F238E27FC236}">
                <a16:creationId xmlns:a16="http://schemas.microsoft.com/office/drawing/2014/main" id="{9C493D70-373F-42A6-9E85-16208CB488AE}"/>
              </a:ext>
            </a:extLst>
          </p:cNvPr>
          <p:cNvSpPr/>
          <p:nvPr/>
        </p:nvSpPr>
        <p:spPr>
          <a:xfrm>
            <a:off x="5830887" y="1765285"/>
            <a:ext cx="530226" cy="4032278"/>
          </a:xfrm>
          <a:prstGeom prst="chevron">
            <a:avLst>
              <a:gd name="adj" fmla="val 92724"/>
            </a:avLst>
          </a:prstGeom>
          <a:solidFill>
            <a:srgbClr val="C6AC0F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534C22-BBA6-4547-B13B-8BF89C80886F}"/>
              </a:ext>
            </a:extLst>
          </p:cNvPr>
          <p:cNvSpPr txBox="1"/>
          <p:nvPr/>
        </p:nvSpPr>
        <p:spPr>
          <a:xfrm>
            <a:off x="6582768" y="3181259"/>
            <a:ext cx="503872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Вы можете получить доступ к ресурсам на обновленной </a:t>
            </a:r>
            <a:r>
              <a:rPr lang="ru-RU" sz="2400" b="1" dirty="0"/>
              <a:t>веб-странице «Развитие СКК»</a:t>
            </a:r>
            <a:r>
              <a:rPr lang="ru-RU" sz="2400" dirty="0"/>
              <a:t> по этой </a:t>
            </a:r>
            <a:r>
              <a:rPr lang="ru-RU" sz="2400" dirty="0">
                <a:hlinkClick r:id="rId4"/>
              </a:rPr>
              <a:t>ссылке</a:t>
            </a:r>
            <a:r>
              <a:rPr lang="en-US" sz="2400" dirty="0">
                <a:hlinkClick r:id="rId4"/>
              </a:rPr>
              <a:t>!</a:t>
            </a:r>
            <a:endParaRPr lang="en-US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DEA5EA-B757-4F01-BE0A-E992D12D0652}"/>
              </a:ext>
            </a:extLst>
          </p:cNvPr>
          <p:cNvSpPr txBox="1"/>
          <p:nvPr/>
        </p:nvSpPr>
        <p:spPr>
          <a:xfrm>
            <a:off x="4395810" y="6388684"/>
            <a:ext cx="8405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ttps://www.theglobalfund.org/en/country-coordinating-mechanism/evolution/</a:t>
            </a:r>
          </a:p>
        </p:txBody>
      </p:sp>
    </p:spTree>
    <p:extLst>
      <p:ext uri="{BB962C8B-B14F-4D97-AF65-F5344CB8AC3E}">
        <p14:creationId xmlns:p14="http://schemas.microsoft.com/office/powerpoint/2010/main" val="37965264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3C6D6-65A5-4844-8C4D-982234429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429C8-3C94-4618-8712-4F46E0044B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31B58E3-F6B8-4F32-B2AD-03F2239DCD54}"/>
              </a:ext>
            </a:extLst>
          </p:cNvPr>
          <p:cNvCxnSpPr/>
          <p:nvPr/>
        </p:nvCxnSpPr>
        <p:spPr>
          <a:xfrm>
            <a:off x="906011" y="1619075"/>
            <a:ext cx="8883941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2EC9D53-B393-47B2-B5B8-106F9801E9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8497" y="1882486"/>
            <a:ext cx="10515600" cy="435133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Введение к вопросу о Развитии СКК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юме пороговых результатов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ие действия</a:t>
            </a:r>
            <a:endParaRPr lang="en-US" sz="24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6844FE8-D722-4DF6-AED4-D8B612FA7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0" y="388534"/>
            <a:ext cx="11191880" cy="1325563"/>
          </a:xfrm>
        </p:spPr>
        <p:txBody>
          <a:bodyPr>
            <a:normAutofit/>
          </a:bodyPr>
          <a:lstStyle/>
          <a:p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План</a:t>
            </a:r>
            <a:endParaRPr lang="en-US" sz="40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7958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itle 1">
            <a:extLst>
              <a:ext uri="{FF2B5EF4-FFF2-40B4-BE49-F238E27FC236}">
                <a16:creationId xmlns:a16="http://schemas.microsoft.com/office/drawing/2014/main" id="{DEA3625A-8F38-41AC-9AA1-2CBA63C1C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67" y="162022"/>
            <a:ext cx="11361575" cy="1066396"/>
          </a:xfrm>
        </p:spPr>
        <p:txBody>
          <a:bodyPr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Какова роль члена СКК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IN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" name="Graphic 60" descr="Meeting">
            <a:extLst>
              <a:ext uri="{FF2B5EF4-FFF2-40B4-BE49-F238E27FC236}">
                <a16:creationId xmlns:a16="http://schemas.microsoft.com/office/drawing/2014/main" id="{97D2E204-3BC5-4925-BFB9-837A805918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987" y="1241222"/>
            <a:ext cx="3486033" cy="3486033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id="{73A11688-A194-4D58-BB98-C6F2CB021E7F}"/>
              </a:ext>
            </a:extLst>
          </p:cNvPr>
          <p:cNvSpPr txBox="1"/>
          <p:nvPr/>
        </p:nvSpPr>
        <p:spPr>
          <a:xfrm>
            <a:off x="4155440" y="1228418"/>
            <a:ext cx="736715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мать и разделять основные обязанности</a:t>
            </a:r>
          </a:p>
          <a:p>
            <a:pPr lvl="0"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осить вклад в осуществление приоритетных мероприятий и участвовать в их реализации</a:t>
            </a:r>
          </a:p>
          <a:p>
            <a:pPr lvl="0"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еплять взаимную подотчетность в деле повышения эффективности СКК (он эффективен настолько, насколько эффективны его члены!)</a:t>
            </a:r>
          </a:p>
          <a:p>
            <a:pPr lvl="0"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угие идеи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3A5F33-667C-4D1A-A4C5-E016E7059D7A}"/>
              </a:ext>
            </a:extLst>
          </p:cNvPr>
          <p:cNvSpPr/>
          <p:nvPr/>
        </p:nvSpPr>
        <p:spPr>
          <a:xfrm>
            <a:off x="-1" y="5772548"/>
            <a:ext cx="12192001" cy="8218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i="1" dirty="0">
                <a:solidFill>
                  <a:prstClr val="white"/>
                </a:solidFill>
              </a:rPr>
              <a:t>Повышение эффективности СКК и системы управления в целях поддержки </a:t>
            </a:r>
            <a:br>
              <a:rPr lang="ru-RU" i="1" dirty="0">
                <a:solidFill>
                  <a:prstClr val="white"/>
                </a:solidFill>
              </a:rPr>
            </a:br>
            <a:r>
              <a:rPr lang="ru-RU" b="1" i="1" dirty="0">
                <a:solidFill>
                  <a:prstClr val="white"/>
                </a:solidFill>
              </a:rPr>
              <a:t>национальных мер борьбы с заболеваниями</a:t>
            </a:r>
          </a:p>
        </p:txBody>
      </p:sp>
    </p:spTree>
    <p:extLst>
      <p:ext uri="{BB962C8B-B14F-4D97-AF65-F5344CB8AC3E}">
        <p14:creationId xmlns:p14="http://schemas.microsoft.com/office/powerpoint/2010/main" val="757940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3D40DAF-F16C-43EB-AF8D-2E2A8151D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564332"/>
            <a:ext cx="11449050" cy="983114"/>
          </a:xfrm>
        </p:spPr>
        <p:txBody>
          <a:bodyPr/>
          <a:lstStyle/>
          <a:p>
            <a:r>
              <a:rPr lang="ru-RU" sz="2800" dirty="0"/>
              <a:t>Начнем с короткого вступительного видеосюжета об эволюции СКК в направлении от лидирующей роли Глобального фонда</a:t>
            </a: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AAFF6155-364F-8A4F-BFF1-77EF0123C44B}"/>
              </a:ext>
            </a:extLst>
          </p:cNvPr>
          <p:cNvSpPr txBox="1"/>
          <p:nvPr/>
        </p:nvSpPr>
        <p:spPr>
          <a:xfrm>
            <a:off x="828339" y="3178175"/>
            <a:ext cx="10992185" cy="40011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spAutoFit/>
          </a:bodyPr>
          <a:lstStyle/>
          <a:p>
            <a:pPr marL="342900" lvl="0" indent="-342900" defTabSz="914244"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000" kern="0" dirty="0">
                <a:solidFill>
                  <a:srgbClr val="000000"/>
                </a:solidFill>
                <a:cs typeface="Arial" panose="020B0604020202020204" pitchFamily="34" charset="0"/>
              </a:rPr>
              <a:t>На английском языке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: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с субтитрами на русском языке </a:t>
            </a:r>
            <a:r>
              <a:rPr lang="en-US" sz="2000" u="sng" dirty="0">
                <a:hlinkClick r:id="rId3"/>
              </a:rPr>
              <a:t>https://youtu.be/4XPKLXZw7yw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3976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E4BEB-E42A-48F4-B2CA-F83059FA1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803" y="421111"/>
            <a:ext cx="11621837" cy="773334"/>
          </a:xfrm>
        </p:spPr>
        <p:txBody>
          <a:bodyPr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Что означает «Развитие СКК»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125673C-F6DF-4B92-A231-F47E76710773}"/>
              </a:ext>
            </a:extLst>
          </p:cNvPr>
          <p:cNvSpPr/>
          <p:nvPr/>
        </p:nvSpPr>
        <p:spPr>
          <a:xfrm>
            <a:off x="1109334" y="2600139"/>
            <a:ext cx="1572792" cy="258532"/>
          </a:xfrm>
          <a:prstGeom prst="rect">
            <a:avLst/>
          </a:prstGeom>
        </p:spPr>
        <p:txBody>
          <a:bodyPr wrap="square" lIns="0" r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Wha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76CBDC-DECA-47E6-8993-0D2278265927}"/>
              </a:ext>
            </a:extLst>
          </p:cNvPr>
          <p:cNvSpPr/>
          <p:nvPr/>
        </p:nvSpPr>
        <p:spPr>
          <a:xfrm>
            <a:off x="2183802" y="1265607"/>
            <a:ext cx="9794838" cy="2041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900"/>
              </a:lnSpc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Глобального фонда обеспечивает инвестирование средств в стратегии </a:t>
            </a:r>
            <a:r>
              <a:rPr lang="ru-RU" sz="2000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ращения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пидемий ВИЧ, туберкулеза и малярии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дновременно укрепляя жизнеспособные и устойчивые системы для сохранения здоровья людей. 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К являются главным элементом этой модели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лужащим в качестве механизма Глобального фонда для управления на страновом и региональном уровнях и направленным на формирование и обеспечение воздействия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921EDAA-FD34-4413-BFB1-90C219A64733}"/>
              </a:ext>
            </a:extLst>
          </p:cNvPr>
          <p:cNvSpPr/>
          <p:nvPr/>
        </p:nvSpPr>
        <p:spPr>
          <a:xfrm>
            <a:off x="1895730" y="4737845"/>
            <a:ext cx="10074536" cy="13106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163513">
              <a:lnSpc>
                <a:spcPts val="1900"/>
              </a:lnSpc>
              <a:buSzPct val="1000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ные механизмы</a:t>
            </a:r>
            <a:r>
              <a:rPr lang="ru-RU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гласованные с национальными структурами</a:t>
            </a: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lvl="0" indent="-163513">
              <a:lnSpc>
                <a:spcPts val="1900"/>
              </a:lnSpc>
              <a:buSzPct val="1000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ированные процессы</a:t>
            </a:r>
            <a:r>
              <a:rPr lang="ru-RU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риентированные на достижение результатов инвестиционной деятельности</a:t>
            </a: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lvl="0" indent="-163513">
              <a:lnSpc>
                <a:spcPts val="1900"/>
              </a:lnSpc>
              <a:buSzPct val="1000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епление управления </a:t>
            </a:r>
            <a:r>
              <a:rPr lang="ru-RU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шения существующих и возникающих проблем в области здравоохранения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357099-01EB-4DE1-BEEE-AD9FDD8532DF}"/>
              </a:ext>
            </a:extLst>
          </p:cNvPr>
          <p:cNvSpPr txBox="1"/>
          <p:nvPr/>
        </p:nvSpPr>
        <p:spPr>
          <a:xfrm>
            <a:off x="-28418" y="1909674"/>
            <a:ext cx="1920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chemeClr val="accent1"/>
                </a:solidFill>
              </a:rPr>
              <a:t>Контекст</a:t>
            </a:r>
            <a:endParaRPr lang="en-US" sz="2400" i="1" dirty="0">
              <a:solidFill>
                <a:schemeClr val="accent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224AAE-600E-4522-AD93-94E965A65917}"/>
              </a:ext>
            </a:extLst>
          </p:cNvPr>
          <p:cNvSpPr txBox="1"/>
          <p:nvPr/>
        </p:nvSpPr>
        <p:spPr>
          <a:xfrm>
            <a:off x="101600" y="3560951"/>
            <a:ext cx="20822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chemeClr val="accent1"/>
                </a:solidFill>
              </a:rPr>
              <a:t>Возможности</a:t>
            </a:r>
            <a:endParaRPr lang="en-US" sz="2400" i="1" dirty="0">
              <a:solidFill>
                <a:schemeClr val="accent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54B96B-4C33-4481-BF2D-D6757DABA81D}"/>
              </a:ext>
            </a:extLst>
          </p:cNvPr>
          <p:cNvSpPr txBox="1"/>
          <p:nvPr/>
        </p:nvSpPr>
        <p:spPr>
          <a:xfrm>
            <a:off x="101600" y="5208836"/>
            <a:ext cx="1361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chemeClr val="accent1"/>
                </a:solidFill>
              </a:rPr>
              <a:t>Успехи</a:t>
            </a:r>
            <a:endParaRPr lang="en-US" sz="2400" i="1" dirty="0">
              <a:solidFill>
                <a:schemeClr val="accent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A517AF-211B-44D6-A85E-9161AF9E7F49}"/>
              </a:ext>
            </a:extLst>
          </p:cNvPr>
          <p:cNvSpPr/>
          <p:nvPr/>
        </p:nvSpPr>
        <p:spPr>
          <a:xfrm>
            <a:off x="2183802" y="3279513"/>
            <a:ext cx="9794838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900"/>
              </a:lnSpc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иная с экспериментального этапа*, проект «Развитие СКК» (стратегическая инициатива стоимостью 15 млн долл. США на 2020-2023 гг.) будет осуществляться с участием приблизительно 90 СКК и РКК путем реализации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зированных мероприятий по укреплению основных функций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458A592-7596-4937-A5B0-2F5D0BD845E3}"/>
              </a:ext>
            </a:extLst>
          </p:cNvPr>
          <p:cNvCxnSpPr/>
          <p:nvPr/>
        </p:nvCxnSpPr>
        <p:spPr>
          <a:xfrm>
            <a:off x="2103006" y="3106781"/>
            <a:ext cx="9144114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5141C4-675A-4901-88D1-14DDCBCEB913}"/>
              </a:ext>
            </a:extLst>
          </p:cNvPr>
          <p:cNvCxnSpPr/>
          <p:nvPr/>
        </p:nvCxnSpPr>
        <p:spPr>
          <a:xfrm>
            <a:off x="2049218" y="4590475"/>
            <a:ext cx="9144114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B3875BB-1B2D-420A-8694-BC48F3927971}"/>
              </a:ext>
            </a:extLst>
          </p:cNvPr>
          <p:cNvSpPr txBox="1"/>
          <p:nvPr/>
        </p:nvSpPr>
        <p:spPr>
          <a:xfrm>
            <a:off x="129092" y="6148835"/>
            <a:ext cx="11699539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dirty="0"/>
              <a:t>*</a:t>
            </a:r>
            <a:r>
              <a:rPr lang="ru-RU" sz="1000" dirty="0"/>
              <a:t>В 2018-2019 гг. экспериментальный проект «Развитие СКК» осуществлялся в тесном взаимодействии с 18 СКК, действующими в различных условиях, в целях тестирования инструментов и подходов.  Основываясь на полученных результатах, впоследствии адаптированных к виртуальным условиям, проект «Развитие СКК» находится на своем втором этапе, распространяясь на остальные СКК и РКК (приблизительно 90 по всему миру).</a:t>
            </a:r>
          </a:p>
          <a:p>
            <a:endParaRPr lang="en-US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693BA2-D08A-4615-B880-BA65EDE05523}"/>
              </a:ext>
            </a:extLst>
          </p:cNvPr>
          <p:cNvSpPr txBox="1"/>
          <p:nvPr/>
        </p:nvSpPr>
        <p:spPr>
          <a:xfrm>
            <a:off x="9563548" y="4232283"/>
            <a:ext cx="2415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>
                <a:solidFill>
                  <a:schemeClr val="accent4">
                    <a:lumMod val="75000"/>
                  </a:schemeClr>
                </a:solidFill>
              </a:rPr>
              <a:t>Мы находимся здесь</a:t>
            </a:r>
            <a:endParaRPr lang="en-US" i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58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FA62F-626D-4951-B57C-9068F2CC9D1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1363" y="241864"/>
            <a:ext cx="11469273" cy="1150927"/>
          </a:xfrm>
        </p:spPr>
        <p:txBody>
          <a:bodyPr>
            <a:noAutofit/>
          </a:bodyPr>
          <a:lstStyle/>
          <a:p>
            <a:pPr lvl="0"/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Мероприятия, направленные на развитие, охватывают </a:t>
            </a: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четыре основные сферы</a:t>
            </a:r>
            <a:endParaRPr lang="en-US" sz="3200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893E8913-3277-4A47-BF29-9E6F23D6A169}"/>
              </a:ext>
            </a:extLst>
          </p:cNvPr>
          <p:cNvSpPr txBox="1"/>
          <p:nvPr/>
        </p:nvSpPr>
        <p:spPr>
          <a:xfrm>
            <a:off x="8610603" y="6356351"/>
            <a:ext cx="2743200" cy="36512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C2C6C5C-EF75-45B3-B3EE-2A130A6FE7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D31C51E-88C4-4055-A60C-D66467D602F7}"/>
              </a:ext>
            </a:extLst>
          </p:cNvPr>
          <p:cNvGrpSpPr/>
          <p:nvPr/>
        </p:nvGrpSpPr>
        <p:grpSpPr>
          <a:xfrm>
            <a:off x="1576670" y="1633678"/>
            <a:ext cx="10300370" cy="4031950"/>
            <a:chOff x="899585" y="2286765"/>
            <a:chExt cx="6534120" cy="3204901"/>
          </a:xfrm>
        </p:grpSpPr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4F3CED88-348F-4BC4-B7E3-32FB3B7140F4}"/>
                </a:ext>
              </a:extLst>
            </p:cNvPr>
            <p:cNvSpPr txBox="1"/>
            <p:nvPr/>
          </p:nvSpPr>
          <p:spPr>
            <a:xfrm>
              <a:off x="899586" y="2286765"/>
              <a:ext cx="6534119" cy="318038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b" anchorCtr="0" compatLnSpc="1">
              <a:spAutoFit/>
            </a:bodyPr>
            <a:lstStyle/>
            <a:p>
              <a:pPr lvl="0" defTabSz="914244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ивный </a:t>
              </a:r>
              <a:r>
                <a:rPr lang="ru-RU" sz="20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дзор</a:t>
              </a: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а инвестициями в целях достижение воздействия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TextBox 5">
              <a:extLst>
                <a:ext uri="{FF2B5EF4-FFF2-40B4-BE49-F238E27FC236}">
                  <a16:creationId xmlns:a16="http://schemas.microsoft.com/office/drawing/2014/main" id="{BC22768E-CA1E-4326-9768-265A00677112}"/>
                </a:ext>
              </a:extLst>
            </p:cNvPr>
            <p:cNvSpPr txBox="1"/>
            <p:nvPr/>
          </p:nvSpPr>
          <p:spPr>
            <a:xfrm>
              <a:off x="899585" y="2826410"/>
              <a:ext cx="6329310" cy="807326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b" anchorCtr="0" compatLnSpc="1">
              <a:spAutoFit/>
            </a:bodyPr>
            <a:lstStyle/>
            <a:p>
              <a:pPr lvl="0" defTabSz="914244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структивное </a:t>
              </a:r>
              <a:r>
                <a:rPr lang="ru-RU" sz="20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овлечение</a:t>
              </a: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аинтересованных сторон и обмен информацией, особенно с гражданским обществом и сообществами, в целях формирования инвестиций и контроля за их осуществлением </a:t>
              </a:r>
            </a:p>
          </p:txBody>
        </p:sp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FAF3DDE2-D587-44E4-9B6B-6FB0121BF1FD}"/>
                </a:ext>
              </a:extLst>
            </p:cNvPr>
            <p:cNvSpPr txBox="1"/>
            <p:nvPr/>
          </p:nvSpPr>
          <p:spPr>
            <a:xfrm>
              <a:off x="899585" y="3841129"/>
              <a:ext cx="6329310" cy="807326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b" anchorCtr="0" compatLnSpc="1">
              <a:spAutoFit/>
            </a:bodyPr>
            <a:lstStyle/>
            <a:p>
              <a:pPr lvl="0" defTabSz="914244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ru-RU" sz="2000" kern="0" dirty="0">
                  <a:latin typeface="Arial" panose="020B0604020202020204" pitchFamily="34" charset="0"/>
                  <a:cs typeface="Arial" panose="020B0604020202020204" pitchFamily="34" charset="0"/>
                </a:rPr>
                <a:t>Эффективное </a:t>
              </a:r>
              <a:r>
                <a:rPr lang="ru-RU" sz="20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зиционирование </a:t>
              </a:r>
              <a:r>
                <a:rPr lang="ru-RU" sz="2000" kern="0" dirty="0">
                  <a:latin typeface="Arial" panose="020B0604020202020204" pitchFamily="34" charset="0"/>
                  <a:cs typeface="Arial" panose="020B0604020202020204" pitchFamily="34" charset="0"/>
                </a:rPr>
                <a:t>в национальных структурах и на существующих/ формирующихся платформах в целях повышения эффективности инвестиций в области здравоохранения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7">
              <a:extLst>
                <a:ext uri="{FF2B5EF4-FFF2-40B4-BE49-F238E27FC236}">
                  <a16:creationId xmlns:a16="http://schemas.microsoft.com/office/drawing/2014/main" id="{96F07F39-7562-4B5F-8562-137D3E3C966A}"/>
                </a:ext>
              </a:extLst>
            </p:cNvPr>
            <p:cNvSpPr txBox="1"/>
            <p:nvPr/>
          </p:nvSpPr>
          <p:spPr>
            <a:xfrm>
              <a:off x="899585" y="4684340"/>
              <a:ext cx="6265923" cy="807326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b" anchorCtr="0" compatLnSpc="1">
              <a:spAutoFit/>
            </a:bodyPr>
            <a:lstStyle/>
            <a:p>
              <a:pPr lvl="0" defTabSz="914244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ффективная </a:t>
              </a:r>
              <a:r>
                <a:rPr lang="ru-RU" sz="2000" b="1" kern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ерационная деятельность </a:t>
              </a:r>
              <a:r>
                <a:rPr lang="ru-RU" sz="20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кретариата СКК по выполнению основных функций, стимулирование и поддержание систем управления в сфере здравоохранения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1FDF2227-9BD5-4C85-8876-C24804E8FC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887" y="1643522"/>
            <a:ext cx="462078" cy="5986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58AEE5-3A9D-44F9-B5D2-DF4E83B165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927" y="3862701"/>
            <a:ext cx="480364" cy="45717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B054F8D-F1F2-4BFF-9B1C-BA3B72676C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562" y="5080315"/>
            <a:ext cx="426729" cy="457174"/>
          </a:xfrm>
          <a:prstGeom prst="rect">
            <a:avLst/>
          </a:prstGeom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46EB40E-BC3A-422E-97C0-50D3DD6540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820" y="2620021"/>
            <a:ext cx="680213" cy="48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17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729CD-B1C8-4B1D-B564-E7E514FF7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360" y="139910"/>
            <a:ext cx="11229336" cy="1325563"/>
          </a:xfrm>
        </p:spPr>
        <p:txBody>
          <a:bodyPr>
            <a:norm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Что включает понятие «Развитие СКК»?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2B04C548-8EE3-4263-B524-0BF28723902D}"/>
              </a:ext>
            </a:extLst>
          </p:cNvPr>
          <p:cNvSpPr/>
          <p:nvPr/>
        </p:nvSpPr>
        <p:spPr>
          <a:xfrm rot="5400000">
            <a:off x="2015114" y="436900"/>
            <a:ext cx="1110732" cy="3688080"/>
          </a:xfrm>
          <a:prstGeom prst="homePlate">
            <a:avLst>
              <a:gd name="adj" fmla="val 3160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" name="Arrow: Chevron 3">
            <a:extLst>
              <a:ext uri="{FF2B5EF4-FFF2-40B4-BE49-F238E27FC236}">
                <a16:creationId xmlns:a16="http://schemas.microsoft.com/office/drawing/2014/main" id="{3994640A-CD28-482D-82FD-CDE81CC6EFC0}"/>
              </a:ext>
            </a:extLst>
          </p:cNvPr>
          <p:cNvSpPr/>
          <p:nvPr/>
        </p:nvSpPr>
        <p:spPr>
          <a:xfrm rot="5400000">
            <a:off x="1907698" y="1445299"/>
            <a:ext cx="1325564" cy="3688080"/>
          </a:xfrm>
          <a:prstGeom prst="chevron">
            <a:avLst>
              <a:gd name="adj" fmla="val 262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A9570653-A75C-4431-ADDD-97EEC4BB66E3}"/>
              </a:ext>
            </a:extLst>
          </p:cNvPr>
          <p:cNvSpPr/>
          <p:nvPr/>
        </p:nvSpPr>
        <p:spPr>
          <a:xfrm rot="5400000">
            <a:off x="1907697" y="3693654"/>
            <a:ext cx="1325564" cy="3688080"/>
          </a:xfrm>
          <a:prstGeom prst="chevron">
            <a:avLst>
              <a:gd name="adj" fmla="val 262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57A713-4F00-445E-B9B7-7FD34537D5D4}"/>
              </a:ext>
            </a:extLst>
          </p:cNvPr>
          <p:cNvSpPr txBox="1"/>
          <p:nvPr/>
        </p:nvSpPr>
        <p:spPr>
          <a:xfrm>
            <a:off x="599434" y="1926868"/>
            <a:ext cx="3936497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 </a:t>
            </a:r>
            <a:r>
              <a:rPr lang="ru-RU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Порог</a:t>
            </a:r>
            <a:endParaRPr lang="en-US" sz="28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5FD3DC-D28A-4CA3-BA16-D0F83968B98E}"/>
              </a:ext>
            </a:extLst>
          </p:cNvPr>
          <p:cNvSpPr txBox="1"/>
          <p:nvPr/>
        </p:nvSpPr>
        <p:spPr>
          <a:xfrm>
            <a:off x="4557270" y="1720881"/>
            <a:ext cx="68061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Проанализируйте, что работает, и </a:t>
            </a:r>
            <a:r>
              <a:rPr lang="ru-RU" sz="2400" b="1" dirty="0"/>
              <a:t>определите возможности для улучшений</a:t>
            </a:r>
            <a:endParaRPr lang="en-US" sz="24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19C6E3-1AB7-4DC1-B6D7-6907F9341FF1}"/>
              </a:ext>
            </a:extLst>
          </p:cNvPr>
          <p:cNvSpPr txBox="1"/>
          <p:nvPr/>
        </p:nvSpPr>
        <p:spPr>
          <a:xfrm>
            <a:off x="4610609" y="2782513"/>
            <a:ext cx="66238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Приоритезируйте мероприятия </a:t>
            </a:r>
            <a:r>
              <a:rPr lang="ru-RU" sz="2400" dirty="0"/>
              <a:t>в целях повышения ответственности</a:t>
            </a: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CE3C5-41F4-484B-B7CB-BC98A578B962}"/>
              </a:ext>
            </a:extLst>
          </p:cNvPr>
          <p:cNvSpPr txBox="1"/>
          <p:nvPr/>
        </p:nvSpPr>
        <p:spPr>
          <a:xfrm>
            <a:off x="4610609" y="4973719"/>
            <a:ext cx="69590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Изучите и поддерживайте системные </a:t>
            </a:r>
            <a:r>
              <a:rPr lang="ru-RU" sz="2400" b="1" dirty="0"/>
              <a:t>усовершенствования в области управл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2C009BB-F786-4338-B1DE-374C61841C4D}"/>
              </a:ext>
            </a:extLst>
          </p:cNvPr>
          <p:cNvSpPr txBox="1"/>
          <p:nvPr/>
        </p:nvSpPr>
        <p:spPr>
          <a:xfrm>
            <a:off x="895920" y="3078103"/>
            <a:ext cx="334911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Вводный курс</a:t>
            </a:r>
            <a:endParaRPr lang="en-US" sz="28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3F07E7-17BA-4B35-84D4-32C912227F05}"/>
              </a:ext>
            </a:extLst>
          </p:cNvPr>
          <p:cNvSpPr txBox="1"/>
          <p:nvPr/>
        </p:nvSpPr>
        <p:spPr>
          <a:xfrm>
            <a:off x="853434" y="5334935"/>
            <a:ext cx="334911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Результаты</a:t>
            </a:r>
            <a:endParaRPr lang="en-US" sz="28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929A3569-1286-48FB-9DFE-968F0804CAC8}"/>
              </a:ext>
            </a:extLst>
          </p:cNvPr>
          <p:cNvSpPr/>
          <p:nvPr/>
        </p:nvSpPr>
        <p:spPr>
          <a:xfrm rot="5400000">
            <a:off x="1907697" y="2579951"/>
            <a:ext cx="1325564" cy="3688080"/>
          </a:xfrm>
          <a:prstGeom prst="chevron">
            <a:avLst>
              <a:gd name="adj" fmla="val 262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20742E-30AF-43EE-A8CC-40F32EA16ADD}"/>
              </a:ext>
            </a:extLst>
          </p:cNvPr>
          <p:cNvSpPr txBox="1"/>
          <p:nvPr/>
        </p:nvSpPr>
        <p:spPr>
          <a:xfrm>
            <a:off x="895920" y="4247363"/>
            <a:ext cx="334911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Мероприятия</a:t>
            </a:r>
            <a:endParaRPr lang="en-US" sz="2800" b="1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03C2B7-9339-4D94-9939-DCD78FA85339}"/>
              </a:ext>
            </a:extLst>
          </p:cNvPr>
          <p:cNvSpPr txBox="1"/>
          <p:nvPr/>
        </p:nvSpPr>
        <p:spPr>
          <a:xfrm>
            <a:off x="4584000" y="3970527"/>
            <a:ext cx="69856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Адаптируйте к условиям и </a:t>
            </a:r>
            <a:r>
              <a:rPr lang="ru-RU" sz="2400" b="1" dirty="0"/>
              <a:t>поддерживайте динамику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0FCBD70-5673-45CE-8A95-47CA65731556}"/>
              </a:ext>
            </a:extLst>
          </p:cNvPr>
          <p:cNvSpPr/>
          <p:nvPr/>
        </p:nvSpPr>
        <p:spPr>
          <a:xfrm>
            <a:off x="605029" y="1599525"/>
            <a:ext cx="254001" cy="270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EC3F512-6B11-4EB4-9102-DD49EC94A68E}"/>
              </a:ext>
            </a:extLst>
          </p:cNvPr>
          <p:cNvSpPr/>
          <p:nvPr/>
        </p:nvSpPr>
        <p:spPr>
          <a:xfrm>
            <a:off x="599434" y="2512497"/>
            <a:ext cx="254001" cy="270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2E07998-AB7D-4695-8768-7A8D77098DE4}"/>
              </a:ext>
            </a:extLst>
          </p:cNvPr>
          <p:cNvSpPr/>
          <p:nvPr/>
        </p:nvSpPr>
        <p:spPr>
          <a:xfrm>
            <a:off x="599435" y="3671819"/>
            <a:ext cx="254001" cy="270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FEABCB-4988-4657-B905-071C0A98F664}"/>
              </a:ext>
            </a:extLst>
          </p:cNvPr>
          <p:cNvSpPr/>
          <p:nvPr/>
        </p:nvSpPr>
        <p:spPr>
          <a:xfrm>
            <a:off x="599436" y="4778084"/>
            <a:ext cx="254001" cy="270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5E72709-EC71-4ACA-B71C-E8EED2A7CD5D}"/>
              </a:ext>
            </a:extLst>
          </p:cNvPr>
          <p:cNvSpPr/>
          <p:nvPr/>
        </p:nvSpPr>
        <p:spPr>
          <a:xfrm>
            <a:off x="4557270" y="2731713"/>
            <a:ext cx="6959087" cy="889306"/>
          </a:xfrm>
          <a:prstGeom prst="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E48EF6-896C-4827-B2D4-C8EBF274C10A}"/>
              </a:ext>
            </a:extLst>
          </p:cNvPr>
          <p:cNvSpPr txBox="1"/>
          <p:nvPr/>
        </p:nvSpPr>
        <p:spPr>
          <a:xfrm>
            <a:off x="8918090" y="3429000"/>
            <a:ext cx="222683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Мы находимся здесь</a:t>
            </a:r>
          </a:p>
        </p:txBody>
      </p:sp>
    </p:spTree>
    <p:extLst>
      <p:ext uri="{BB962C8B-B14F-4D97-AF65-F5344CB8AC3E}">
        <p14:creationId xmlns:p14="http://schemas.microsoft.com/office/powerpoint/2010/main" val="1629636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635731" y="1294141"/>
            <a:ext cx="1651363" cy="536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вартал 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389040" y="1293054"/>
            <a:ext cx="2041330" cy="5303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ртал 1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Group 145"/>
          <p:cNvGrpSpPr/>
          <p:nvPr/>
        </p:nvGrpSpPr>
        <p:grpSpPr>
          <a:xfrm>
            <a:off x="2649348" y="4313185"/>
            <a:ext cx="383858" cy="414802"/>
            <a:chOff x="-5121275" y="1619250"/>
            <a:chExt cx="6223000" cy="6724650"/>
          </a:xfrm>
          <a:solidFill>
            <a:schemeClr val="tx1"/>
          </a:solidFill>
        </p:grpSpPr>
        <p:sp>
          <p:nvSpPr>
            <p:cNvPr id="147" name="Freeform 31"/>
            <p:cNvSpPr>
              <a:spLocks noEditPoints="1"/>
            </p:cNvSpPr>
            <p:nvPr/>
          </p:nvSpPr>
          <p:spPr bwMode="auto">
            <a:xfrm>
              <a:off x="-2278063" y="4972050"/>
              <a:ext cx="3379788" cy="3371850"/>
            </a:xfrm>
            <a:custGeom>
              <a:avLst/>
              <a:gdLst>
                <a:gd name="T0" fmla="*/ 1306 w 2129"/>
                <a:gd name="T1" fmla="*/ 550 h 2124"/>
                <a:gd name="T2" fmla="*/ 389 w 2129"/>
                <a:gd name="T3" fmla="*/ 1466 h 2124"/>
                <a:gd name="T4" fmla="*/ 279 w 2129"/>
                <a:gd name="T5" fmla="*/ 1843 h 2124"/>
                <a:gd name="T6" fmla="*/ 657 w 2129"/>
                <a:gd name="T7" fmla="*/ 1737 h 2124"/>
                <a:gd name="T8" fmla="*/ 1578 w 2129"/>
                <a:gd name="T9" fmla="*/ 818 h 2124"/>
                <a:gd name="T10" fmla="*/ 1306 w 2129"/>
                <a:gd name="T11" fmla="*/ 550 h 2124"/>
                <a:gd name="T12" fmla="*/ 1612 w 2129"/>
                <a:gd name="T13" fmla="*/ 244 h 2124"/>
                <a:gd name="T14" fmla="*/ 1468 w 2129"/>
                <a:gd name="T15" fmla="*/ 388 h 2124"/>
                <a:gd name="T16" fmla="*/ 1739 w 2129"/>
                <a:gd name="T17" fmla="*/ 656 h 2124"/>
                <a:gd name="T18" fmla="*/ 1880 w 2129"/>
                <a:gd name="T19" fmla="*/ 510 h 2124"/>
                <a:gd name="T20" fmla="*/ 1612 w 2129"/>
                <a:gd name="T21" fmla="*/ 244 h 2124"/>
                <a:gd name="T22" fmla="*/ 1608 w 2129"/>
                <a:gd name="T23" fmla="*/ 0 h 2124"/>
                <a:gd name="T24" fmla="*/ 1641 w 2129"/>
                <a:gd name="T25" fmla="*/ 3 h 2124"/>
                <a:gd name="T26" fmla="*/ 1672 w 2129"/>
                <a:gd name="T27" fmla="*/ 11 h 2124"/>
                <a:gd name="T28" fmla="*/ 1701 w 2129"/>
                <a:gd name="T29" fmla="*/ 23 h 2124"/>
                <a:gd name="T30" fmla="*/ 1730 w 2129"/>
                <a:gd name="T31" fmla="*/ 41 h 2124"/>
                <a:gd name="T32" fmla="*/ 1755 w 2129"/>
                <a:gd name="T33" fmla="*/ 65 h 2124"/>
                <a:gd name="T34" fmla="*/ 2075 w 2129"/>
                <a:gd name="T35" fmla="*/ 384 h 2124"/>
                <a:gd name="T36" fmla="*/ 2094 w 2129"/>
                <a:gd name="T37" fmla="*/ 407 h 2124"/>
                <a:gd name="T38" fmla="*/ 2110 w 2129"/>
                <a:gd name="T39" fmla="*/ 432 h 2124"/>
                <a:gd name="T40" fmla="*/ 2120 w 2129"/>
                <a:gd name="T41" fmla="*/ 460 h 2124"/>
                <a:gd name="T42" fmla="*/ 2126 w 2129"/>
                <a:gd name="T43" fmla="*/ 491 h 2124"/>
                <a:gd name="T44" fmla="*/ 2129 w 2129"/>
                <a:gd name="T45" fmla="*/ 523 h 2124"/>
                <a:gd name="T46" fmla="*/ 2122 w 2129"/>
                <a:gd name="T47" fmla="*/ 559 h 2124"/>
                <a:gd name="T48" fmla="*/ 2110 w 2129"/>
                <a:gd name="T49" fmla="*/ 591 h 2124"/>
                <a:gd name="T50" fmla="*/ 2093 w 2129"/>
                <a:gd name="T51" fmla="*/ 621 h 2124"/>
                <a:gd name="T52" fmla="*/ 2071 w 2129"/>
                <a:gd name="T53" fmla="*/ 648 h 2124"/>
                <a:gd name="T54" fmla="*/ 1820 w 2129"/>
                <a:gd name="T55" fmla="*/ 898 h 2124"/>
                <a:gd name="T56" fmla="*/ 796 w 2129"/>
                <a:gd name="T57" fmla="*/ 1920 h 2124"/>
                <a:gd name="T58" fmla="*/ 781 w 2129"/>
                <a:gd name="T59" fmla="*/ 1930 h 2124"/>
                <a:gd name="T60" fmla="*/ 765 w 2129"/>
                <a:gd name="T61" fmla="*/ 1938 h 2124"/>
                <a:gd name="T62" fmla="*/ 745 w 2129"/>
                <a:gd name="T63" fmla="*/ 1945 h 2124"/>
                <a:gd name="T64" fmla="*/ 146 w 2129"/>
                <a:gd name="T65" fmla="*/ 2120 h 2124"/>
                <a:gd name="T66" fmla="*/ 132 w 2129"/>
                <a:gd name="T67" fmla="*/ 2122 h 2124"/>
                <a:gd name="T68" fmla="*/ 113 w 2129"/>
                <a:gd name="T69" fmla="*/ 2124 h 2124"/>
                <a:gd name="T70" fmla="*/ 87 w 2129"/>
                <a:gd name="T71" fmla="*/ 2120 h 2124"/>
                <a:gd name="T72" fmla="*/ 63 w 2129"/>
                <a:gd name="T73" fmla="*/ 2112 h 2124"/>
                <a:gd name="T74" fmla="*/ 41 w 2129"/>
                <a:gd name="T75" fmla="*/ 2098 h 2124"/>
                <a:gd name="T76" fmla="*/ 24 w 2129"/>
                <a:gd name="T77" fmla="*/ 2081 h 2124"/>
                <a:gd name="T78" fmla="*/ 11 w 2129"/>
                <a:gd name="T79" fmla="*/ 2062 h 2124"/>
                <a:gd name="T80" fmla="*/ 2 w 2129"/>
                <a:gd name="T81" fmla="*/ 2040 h 2124"/>
                <a:gd name="T82" fmla="*/ 0 w 2129"/>
                <a:gd name="T83" fmla="*/ 2018 h 2124"/>
                <a:gd name="T84" fmla="*/ 1 w 2129"/>
                <a:gd name="T85" fmla="*/ 1999 h 2124"/>
                <a:gd name="T86" fmla="*/ 6 w 2129"/>
                <a:gd name="T87" fmla="*/ 1981 h 2124"/>
                <a:gd name="T88" fmla="*/ 176 w 2129"/>
                <a:gd name="T89" fmla="*/ 1377 h 2124"/>
                <a:gd name="T90" fmla="*/ 181 w 2129"/>
                <a:gd name="T91" fmla="*/ 1364 h 2124"/>
                <a:gd name="T92" fmla="*/ 190 w 2129"/>
                <a:gd name="T93" fmla="*/ 1347 h 2124"/>
                <a:gd name="T94" fmla="*/ 207 w 2129"/>
                <a:gd name="T95" fmla="*/ 1325 h 2124"/>
                <a:gd name="T96" fmla="*/ 1225 w 2129"/>
                <a:gd name="T97" fmla="*/ 308 h 2124"/>
                <a:gd name="T98" fmla="*/ 1480 w 2129"/>
                <a:gd name="T99" fmla="*/ 57 h 2124"/>
                <a:gd name="T100" fmla="*/ 1509 w 2129"/>
                <a:gd name="T101" fmla="*/ 32 h 2124"/>
                <a:gd name="T102" fmla="*/ 1540 w 2129"/>
                <a:gd name="T103" fmla="*/ 14 h 2124"/>
                <a:gd name="T104" fmla="*/ 1574 w 2129"/>
                <a:gd name="T105" fmla="*/ 4 h 2124"/>
                <a:gd name="T106" fmla="*/ 1608 w 2129"/>
                <a:gd name="T107" fmla="*/ 0 h 2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29" h="2124">
                  <a:moveTo>
                    <a:pt x="1306" y="550"/>
                  </a:moveTo>
                  <a:lnTo>
                    <a:pt x="389" y="1466"/>
                  </a:lnTo>
                  <a:lnTo>
                    <a:pt x="279" y="1843"/>
                  </a:lnTo>
                  <a:lnTo>
                    <a:pt x="657" y="1737"/>
                  </a:lnTo>
                  <a:lnTo>
                    <a:pt x="1578" y="818"/>
                  </a:lnTo>
                  <a:lnTo>
                    <a:pt x="1306" y="550"/>
                  </a:lnTo>
                  <a:close/>
                  <a:moveTo>
                    <a:pt x="1612" y="244"/>
                  </a:moveTo>
                  <a:lnTo>
                    <a:pt x="1468" y="388"/>
                  </a:lnTo>
                  <a:lnTo>
                    <a:pt x="1739" y="656"/>
                  </a:lnTo>
                  <a:lnTo>
                    <a:pt x="1880" y="510"/>
                  </a:lnTo>
                  <a:lnTo>
                    <a:pt x="1612" y="244"/>
                  </a:lnTo>
                  <a:close/>
                  <a:moveTo>
                    <a:pt x="1608" y="0"/>
                  </a:moveTo>
                  <a:lnTo>
                    <a:pt x="1641" y="3"/>
                  </a:lnTo>
                  <a:lnTo>
                    <a:pt x="1672" y="11"/>
                  </a:lnTo>
                  <a:lnTo>
                    <a:pt x="1701" y="23"/>
                  </a:lnTo>
                  <a:lnTo>
                    <a:pt x="1730" y="41"/>
                  </a:lnTo>
                  <a:lnTo>
                    <a:pt x="1755" y="65"/>
                  </a:lnTo>
                  <a:lnTo>
                    <a:pt x="2075" y="384"/>
                  </a:lnTo>
                  <a:lnTo>
                    <a:pt x="2094" y="407"/>
                  </a:lnTo>
                  <a:lnTo>
                    <a:pt x="2110" y="432"/>
                  </a:lnTo>
                  <a:lnTo>
                    <a:pt x="2120" y="460"/>
                  </a:lnTo>
                  <a:lnTo>
                    <a:pt x="2126" y="491"/>
                  </a:lnTo>
                  <a:lnTo>
                    <a:pt x="2129" y="523"/>
                  </a:lnTo>
                  <a:lnTo>
                    <a:pt x="2122" y="559"/>
                  </a:lnTo>
                  <a:lnTo>
                    <a:pt x="2110" y="591"/>
                  </a:lnTo>
                  <a:lnTo>
                    <a:pt x="2093" y="621"/>
                  </a:lnTo>
                  <a:lnTo>
                    <a:pt x="2071" y="648"/>
                  </a:lnTo>
                  <a:lnTo>
                    <a:pt x="1820" y="898"/>
                  </a:lnTo>
                  <a:lnTo>
                    <a:pt x="796" y="1920"/>
                  </a:lnTo>
                  <a:lnTo>
                    <a:pt x="781" y="1930"/>
                  </a:lnTo>
                  <a:lnTo>
                    <a:pt x="765" y="1938"/>
                  </a:lnTo>
                  <a:lnTo>
                    <a:pt x="745" y="1945"/>
                  </a:lnTo>
                  <a:lnTo>
                    <a:pt x="146" y="2120"/>
                  </a:lnTo>
                  <a:lnTo>
                    <a:pt x="132" y="2122"/>
                  </a:lnTo>
                  <a:lnTo>
                    <a:pt x="113" y="2124"/>
                  </a:lnTo>
                  <a:lnTo>
                    <a:pt x="87" y="2120"/>
                  </a:lnTo>
                  <a:lnTo>
                    <a:pt x="63" y="2112"/>
                  </a:lnTo>
                  <a:lnTo>
                    <a:pt x="41" y="2098"/>
                  </a:lnTo>
                  <a:lnTo>
                    <a:pt x="24" y="2081"/>
                  </a:lnTo>
                  <a:lnTo>
                    <a:pt x="11" y="2062"/>
                  </a:lnTo>
                  <a:lnTo>
                    <a:pt x="2" y="2040"/>
                  </a:lnTo>
                  <a:lnTo>
                    <a:pt x="0" y="2018"/>
                  </a:lnTo>
                  <a:lnTo>
                    <a:pt x="1" y="1999"/>
                  </a:lnTo>
                  <a:lnTo>
                    <a:pt x="6" y="1981"/>
                  </a:lnTo>
                  <a:lnTo>
                    <a:pt x="176" y="1377"/>
                  </a:lnTo>
                  <a:lnTo>
                    <a:pt x="181" y="1364"/>
                  </a:lnTo>
                  <a:lnTo>
                    <a:pt x="190" y="1347"/>
                  </a:lnTo>
                  <a:lnTo>
                    <a:pt x="207" y="1325"/>
                  </a:lnTo>
                  <a:lnTo>
                    <a:pt x="1225" y="308"/>
                  </a:lnTo>
                  <a:lnTo>
                    <a:pt x="1480" y="57"/>
                  </a:lnTo>
                  <a:lnTo>
                    <a:pt x="1509" y="32"/>
                  </a:lnTo>
                  <a:lnTo>
                    <a:pt x="1540" y="14"/>
                  </a:lnTo>
                  <a:lnTo>
                    <a:pt x="1574" y="4"/>
                  </a:lnTo>
                  <a:lnTo>
                    <a:pt x="16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32"/>
            <p:cNvSpPr>
              <a:spLocks/>
            </p:cNvSpPr>
            <p:nvPr/>
          </p:nvSpPr>
          <p:spPr bwMode="auto">
            <a:xfrm>
              <a:off x="-4484688" y="4784725"/>
              <a:ext cx="3194051" cy="365125"/>
            </a:xfrm>
            <a:custGeom>
              <a:avLst/>
              <a:gdLst>
                <a:gd name="T0" fmla="*/ 114 w 2012"/>
                <a:gd name="T1" fmla="*/ 0 h 230"/>
                <a:gd name="T2" fmla="*/ 1897 w 2012"/>
                <a:gd name="T3" fmla="*/ 0 h 230"/>
                <a:gd name="T4" fmla="*/ 1924 w 2012"/>
                <a:gd name="T5" fmla="*/ 4 h 230"/>
                <a:gd name="T6" fmla="*/ 1949 w 2012"/>
                <a:gd name="T7" fmla="*/ 11 h 230"/>
                <a:gd name="T8" fmla="*/ 1969 w 2012"/>
                <a:gd name="T9" fmla="*/ 25 h 230"/>
                <a:gd name="T10" fmla="*/ 1987 w 2012"/>
                <a:gd name="T11" fmla="*/ 42 h 230"/>
                <a:gd name="T12" fmla="*/ 2000 w 2012"/>
                <a:gd name="T13" fmla="*/ 64 h 230"/>
                <a:gd name="T14" fmla="*/ 2008 w 2012"/>
                <a:gd name="T15" fmla="*/ 87 h 230"/>
                <a:gd name="T16" fmla="*/ 2012 w 2012"/>
                <a:gd name="T17" fmla="*/ 114 h 230"/>
                <a:gd name="T18" fmla="*/ 2008 w 2012"/>
                <a:gd name="T19" fmla="*/ 141 h 230"/>
                <a:gd name="T20" fmla="*/ 2000 w 2012"/>
                <a:gd name="T21" fmla="*/ 166 h 230"/>
                <a:gd name="T22" fmla="*/ 1987 w 2012"/>
                <a:gd name="T23" fmla="*/ 186 h 230"/>
                <a:gd name="T24" fmla="*/ 1969 w 2012"/>
                <a:gd name="T25" fmla="*/ 204 h 230"/>
                <a:gd name="T26" fmla="*/ 1949 w 2012"/>
                <a:gd name="T27" fmla="*/ 219 h 230"/>
                <a:gd name="T28" fmla="*/ 1924 w 2012"/>
                <a:gd name="T29" fmla="*/ 228 h 230"/>
                <a:gd name="T30" fmla="*/ 1897 w 2012"/>
                <a:gd name="T31" fmla="*/ 230 h 230"/>
                <a:gd name="T32" fmla="*/ 114 w 2012"/>
                <a:gd name="T33" fmla="*/ 230 h 230"/>
                <a:gd name="T34" fmla="*/ 87 w 2012"/>
                <a:gd name="T35" fmla="*/ 228 h 230"/>
                <a:gd name="T36" fmla="*/ 63 w 2012"/>
                <a:gd name="T37" fmla="*/ 219 h 230"/>
                <a:gd name="T38" fmla="*/ 42 w 2012"/>
                <a:gd name="T39" fmla="*/ 204 h 230"/>
                <a:gd name="T40" fmla="*/ 24 w 2012"/>
                <a:gd name="T41" fmla="*/ 186 h 230"/>
                <a:gd name="T42" fmla="*/ 11 w 2012"/>
                <a:gd name="T43" fmla="*/ 166 h 230"/>
                <a:gd name="T44" fmla="*/ 2 w 2012"/>
                <a:gd name="T45" fmla="*/ 141 h 230"/>
                <a:gd name="T46" fmla="*/ 0 w 2012"/>
                <a:gd name="T47" fmla="*/ 114 h 230"/>
                <a:gd name="T48" fmla="*/ 2 w 2012"/>
                <a:gd name="T49" fmla="*/ 87 h 230"/>
                <a:gd name="T50" fmla="*/ 11 w 2012"/>
                <a:gd name="T51" fmla="*/ 64 h 230"/>
                <a:gd name="T52" fmla="*/ 24 w 2012"/>
                <a:gd name="T53" fmla="*/ 42 h 230"/>
                <a:gd name="T54" fmla="*/ 42 w 2012"/>
                <a:gd name="T55" fmla="*/ 25 h 230"/>
                <a:gd name="T56" fmla="*/ 63 w 2012"/>
                <a:gd name="T57" fmla="*/ 11 h 230"/>
                <a:gd name="T58" fmla="*/ 87 w 2012"/>
                <a:gd name="T59" fmla="*/ 4 h 230"/>
                <a:gd name="T60" fmla="*/ 114 w 2012"/>
                <a:gd name="T61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12" h="230">
                  <a:moveTo>
                    <a:pt x="114" y="0"/>
                  </a:moveTo>
                  <a:lnTo>
                    <a:pt x="1897" y="0"/>
                  </a:lnTo>
                  <a:lnTo>
                    <a:pt x="1924" y="4"/>
                  </a:lnTo>
                  <a:lnTo>
                    <a:pt x="1949" y="11"/>
                  </a:lnTo>
                  <a:lnTo>
                    <a:pt x="1969" y="25"/>
                  </a:lnTo>
                  <a:lnTo>
                    <a:pt x="1987" y="42"/>
                  </a:lnTo>
                  <a:lnTo>
                    <a:pt x="2000" y="64"/>
                  </a:lnTo>
                  <a:lnTo>
                    <a:pt x="2008" y="87"/>
                  </a:lnTo>
                  <a:lnTo>
                    <a:pt x="2012" y="114"/>
                  </a:lnTo>
                  <a:lnTo>
                    <a:pt x="2008" y="141"/>
                  </a:lnTo>
                  <a:lnTo>
                    <a:pt x="2000" y="166"/>
                  </a:lnTo>
                  <a:lnTo>
                    <a:pt x="1987" y="186"/>
                  </a:lnTo>
                  <a:lnTo>
                    <a:pt x="1969" y="204"/>
                  </a:lnTo>
                  <a:lnTo>
                    <a:pt x="1949" y="219"/>
                  </a:lnTo>
                  <a:lnTo>
                    <a:pt x="1924" y="228"/>
                  </a:lnTo>
                  <a:lnTo>
                    <a:pt x="1897" y="230"/>
                  </a:lnTo>
                  <a:lnTo>
                    <a:pt x="114" y="230"/>
                  </a:lnTo>
                  <a:lnTo>
                    <a:pt x="87" y="228"/>
                  </a:lnTo>
                  <a:lnTo>
                    <a:pt x="63" y="219"/>
                  </a:lnTo>
                  <a:lnTo>
                    <a:pt x="42" y="204"/>
                  </a:lnTo>
                  <a:lnTo>
                    <a:pt x="24" y="186"/>
                  </a:lnTo>
                  <a:lnTo>
                    <a:pt x="11" y="166"/>
                  </a:lnTo>
                  <a:lnTo>
                    <a:pt x="2" y="141"/>
                  </a:lnTo>
                  <a:lnTo>
                    <a:pt x="0" y="114"/>
                  </a:lnTo>
                  <a:lnTo>
                    <a:pt x="2" y="87"/>
                  </a:lnTo>
                  <a:lnTo>
                    <a:pt x="11" y="64"/>
                  </a:lnTo>
                  <a:lnTo>
                    <a:pt x="24" y="42"/>
                  </a:lnTo>
                  <a:lnTo>
                    <a:pt x="42" y="25"/>
                  </a:lnTo>
                  <a:lnTo>
                    <a:pt x="63" y="11"/>
                  </a:lnTo>
                  <a:lnTo>
                    <a:pt x="87" y="4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33"/>
            <p:cNvSpPr>
              <a:spLocks/>
            </p:cNvSpPr>
            <p:nvPr/>
          </p:nvSpPr>
          <p:spPr bwMode="auto">
            <a:xfrm>
              <a:off x="-4484688" y="5602288"/>
              <a:ext cx="3194051" cy="363538"/>
            </a:xfrm>
            <a:custGeom>
              <a:avLst/>
              <a:gdLst>
                <a:gd name="T0" fmla="*/ 114 w 2012"/>
                <a:gd name="T1" fmla="*/ 0 h 229"/>
                <a:gd name="T2" fmla="*/ 1897 w 2012"/>
                <a:gd name="T3" fmla="*/ 0 h 229"/>
                <a:gd name="T4" fmla="*/ 1924 w 2012"/>
                <a:gd name="T5" fmla="*/ 2 h 229"/>
                <a:gd name="T6" fmla="*/ 1949 w 2012"/>
                <a:gd name="T7" fmla="*/ 11 h 229"/>
                <a:gd name="T8" fmla="*/ 1969 w 2012"/>
                <a:gd name="T9" fmla="*/ 24 h 229"/>
                <a:gd name="T10" fmla="*/ 1987 w 2012"/>
                <a:gd name="T11" fmla="*/ 41 h 229"/>
                <a:gd name="T12" fmla="*/ 2000 w 2012"/>
                <a:gd name="T13" fmla="*/ 63 h 229"/>
                <a:gd name="T14" fmla="*/ 2008 w 2012"/>
                <a:gd name="T15" fmla="*/ 87 h 229"/>
                <a:gd name="T16" fmla="*/ 2012 w 2012"/>
                <a:gd name="T17" fmla="*/ 113 h 229"/>
                <a:gd name="T18" fmla="*/ 2008 w 2012"/>
                <a:gd name="T19" fmla="*/ 140 h 229"/>
                <a:gd name="T20" fmla="*/ 2000 w 2012"/>
                <a:gd name="T21" fmla="*/ 165 h 229"/>
                <a:gd name="T22" fmla="*/ 1987 w 2012"/>
                <a:gd name="T23" fmla="*/ 187 h 229"/>
                <a:gd name="T24" fmla="*/ 1969 w 2012"/>
                <a:gd name="T25" fmla="*/ 205 h 229"/>
                <a:gd name="T26" fmla="*/ 1949 w 2012"/>
                <a:gd name="T27" fmla="*/ 217 h 229"/>
                <a:gd name="T28" fmla="*/ 1924 w 2012"/>
                <a:gd name="T29" fmla="*/ 226 h 229"/>
                <a:gd name="T30" fmla="*/ 1897 w 2012"/>
                <a:gd name="T31" fmla="*/ 229 h 229"/>
                <a:gd name="T32" fmla="*/ 114 w 2012"/>
                <a:gd name="T33" fmla="*/ 229 h 229"/>
                <a:gd name="T34" fmla="*/ 87 w 2012"/>
                <a:gd name="T35" fmla="*/ 226 h 229"/>
                <a:gd name="T36" fmla="*/ 63 w 2012"/>
                <a:gd name="T37" fmla="*/ 217 h 229"/>
                <a:gd name="T38" fmla="*/ 42 w 2012"/>
                <a:gd name="T39" fmla="*/ 205 h 229"/>
                <a:gd name="T40" fmla="*/ 24 w 2012"/>
                <a:gd name="T41" fmla="*/ 187 h 229"/>
                <a:gd name="T42" fmla="*/ 11 w 2012"/>
                <a:gd name="T43" fmla="*/ 165 h 229"/>
                <a:gd name="T44" fmla="*/ 2 w 2012"/>
                <a:gd name="T45" fmla="*/ 140 h 229"/>
                <a:gd name="T46" fmla="*/ 0 w 2012"/>
                <a:gd name="T47" fmla="*/ 113 h 229"/>
                <a:gd name="T48" fmla="*/ 2 w 2012"/>
                <a:gd name="T49" fmla="*/ 87 h 229"/>
                <a:gd name="T50" fmla="*/ 11 w 2012"/>
                <a:gd name="T51" fmla="*/ 63 h 229"/>
                <a:gd name="T52" fmla="*/ 24 w 2012"/>
                <a:gd name="T53" fmla="*/ 41 h 229"/>
                <a:gd name="T54" fmla="*/ 42 w 2012"/>
                <a:gd name="T55" fmla="*/ 24 h 229"/>
                <a:gd name="T56" fmla="*/ 63 w 2012"/>
                <a:gd name="T57" fmla="*/ 11 h 229"/>
                <a:gd name="T58" fmla="*/ 87 w 2012"/>
                <a:gd name="T59" fmla="*/ 2 h 229"/>
                <a:gd name="T60" fmla="*/ 114 w 2012"/>
                <a:gd name="T61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12" h="229">
                  <a:moveTo>
                    <a:pt x="114" y="0"/>
                  </a:moveTo>
                  <a:lnTo>
                    <a:pt x="1897" y="0"/>
                  </a:lnTo>
                  <a:lnTo>
                    <a:pt x="1924" y="2"/>
                  </a:lnTo>
                  <a:lnTo>
                    <a:pt x="1949" y="11"/>
                  </a:lnTo>
                  <a:lnTo>
                    <a:pt x="1969" y="24"/>
                  </a:lnTo>
                  <a:lnTo>
                    <a:pt x="1987" y="41"/>
                  </a:lnTo>
                  <a:lnTo>
                    <a:pt x="2000" y="63"/>
                  </a:lnTo>
                  <a:lnTo>
                    <a:pt x="2008" y="87"/>
                  </a:lnTo>
                  <a:lnTo>
                    <a:pt x="2012" y="113"/>
                  </a:lnTo>
                  <a:lnTo>
                    <a:pt x="2008" y="140"/>
                  </a:lnTo>
                  <a:lnTo>
                    <a:pt x="2000" y="165"/>
                  </a:lnTo>
                  <a:lnTo>
                    <a:pt x="1987" y="187"/>
                  </a:lnTo>
                  <a:lnTo>
                    <a:pt x="1969" y="205"/>
                  </a:lnTo>
                  <a:lnTo>
                    <a:pt x="1949" y="217"/>
                  </a:lnTo>
                  <a:lnTo>
                    <a:pt x="1924" y="226"/>
                  </a:lnTo>
                  <a:lnTo>
                    <a:pt x="1897" y="229"/>
                  </a:lnTo>
                  <a:lnTo>
                    <a:pt x="114" y="229"/>
                  </a:lnTo>
                  <a:lnTo>
                    <a:pt x="87" y="226"/>
                  </a:lnTo>
                  <a:lnTo>
                    <a:pt x="63" y="217"/>
                  </a:lnTo>
                  <a:lnTo>
                    <a:pt x="42" y="205"/>
                  </a:lnTo>
                  <a:lnTo>
                    <a:pt x="24" y="187"/>
                  </a:lnTo>
                  <a:lnTo>
                    <a:pt x="11" y="165"/>
                  </a:lnTo>
                  <a:lnTo>
                    <a:pt x="2" y="140"/>
                  </a:lnTo>
                  <a:lnTo>
                    <a:pt x="0" y="113"/>
                  </a:lnTo>
                  <a:lnTo>
                    <a:pt x="2" y="87"/>
                  </a:lnTo>
                  <a:lnTo>
                    <a:pt x="11" y="63"/>
                  </a:lnTo>
                  <a:lnTo>
                    <a:pt x="24" y="41"/>
                  </a:lnTo>
                  <a:lnTo>
                    <a:pt x="42" y="24"/>
                  </a:lnTo>
                  <a:lnTo>
                    <a:pt x="63" y="11"/>
                  </a:lnTo>
                  <a:lnTo>
                    <a:pt x="87" y="2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34"/>
            <p:cNvSpPr>
              <a:spLocks/>
            </p:cNvSpPr>
            <p:nvPr/>
          </p:nvSpPr>
          <p:spPr bwMode="auto">
            <a:xfrm>
              <a:off x="-4484688" y="6411913"/>
              <a:ext cx="1677988" cy="361950"/>
            </a:xfrm>
            <a:custGeom>
              <a:avLst/>
              <a:gdLst>
                <a:gd name="T0" fmla="*/ 114 w 1057"/>
                <a:gd name="T1" fmla="*/ 0 h 228"/>
                <a:gd name="T2" fmla="*/ 941 w 1057"/>
                <a:gd name="T3" fmla="*/ 0 h 228"/>
                <a:gd name="T4" fmla="*/ 968 w 1057"/>
                <a:gd name="T5" fmla="*/ 2 h 228"/>
                <a:gd name="T6" fmla="*/ 993 w 1057"/>
                <a:gd name="T7" fmla="*/ 11 h 228"/>
                <a:gd name="T8" fmla="*/ 1013 w 1057"/>
                <a:gd name="T9" fmla="*/ 24 h 228"/>
                <a:gd name="T10" fmla="*/ 1032 w 1057"/>
                <a:gd name="T11" fmla="*/ 41 h 228"/>
                <a:gd name="T12" fmla="*/ 1046 w 1057"/>
                <a:gd name="T13" fmla="*/ 63 h 228"/>
                <a:gd name="T14" fmla="*/ 1055 w 1057"/>
                <a:gd name="T15" fmla="*/ 87 h 228"/>
                <a:gd name="T16" fmla="*/ 1057 w 1057"/>
                <a:gd name="T17" fmla="*/ 113 h 228"/>
                <a:gd name="T18" fmla="*/ 1055 w 1057"/>
                <a:gd name="T19" fmla="*/ 140 h 228"/>
                <a:gd name="T20" fmla="*/ 1046 w 1057"/>
                <a:gd name="T21" fmla="*/ 165 h 228"/>
                <a:gd name="T22" fmla="*/ 1032 w 1057"/>
                <a:gd name="T23" fmla="*/ 185 h 228"/>
                <a:gd name="T24" fmla="*/ 1013 w 1057"/>
                <a:gd name="T25" fmla="*/ 203 h 228"/>
                <a:gd name="T26" fmla="*/ 993 w 1057"/>
                <a:gd name="T27" fmla="*/ 216 h 228"/>
                <a:gd name="T28" fmla="*/ 968 w 1057"/>
                <a:gd name="T29" fmla="*/ 225 h 228"/>
                <a:gd name="T30" fmla="*/ 941 w 1057"/>
                <a:gd name="T31" fmla="*/ 228 h 228"/>
                <a:gd name="T32" fmla="*/ 114 w 1057"/>
                <a:gd name="T33" fmla="*/ 228 h 228"/>
                <a:gd name="T34" fmla="*/ 87 w 1057"/>
                <a:gd name="T35" fmla="*/ 225 h 228"/>
                <a:gd name="T36" fmla="*/ 63 w 1057"/>
                <a:gd name="T37" fmla="*/ 216 h 228"/>
                <a:gd name="T38" fmla="*/ 42 w 1057"/>
                <a:gd name="T39" fmla="*/ 203 h 228"/>
                <a:gd name="T40" fmla="*/ 24 w 1057"/>
                <a:gd name="T41" fmla="*/ 185 h 228"/>
                <a:gd name="T42" fmla="*/ 11 w 1057"/>
                <a:gd name="T43" fmla="*/ 165 h 228"/>
                <a:gd name="T44" fmla="*/ 2 w 1057"/>
                <a:gd name="T45" fmla="*/ 140 h 228"/>
                <a:gd name="T46" fmla="*/ 0 w 1057"/>
                <a:gd name="T47" fmla="*/ 113 h 228"/>
                <a:gd name="T48" fmla="*/ 2 w 1057"/>
                <a:gd name="T49" fmla="*/ 87 h 228"/>
                <a:gd name="T50" fmla="*/ 11 w 1057"/>
                <a:gd name="T51" fmla="*/ 63 h 228"/>
                <a:gd name="T52" fmla="*/ 24 w 1057"/>
                <a:gd name="T53" fmla="*/ 41 h 228"/>
                <a:gd name="T54" fmla="*/ 42 w 1057"/>
                <a:gd name="T55" fmla="*/ 24 h 228"/>
                <a:gd name="T56" fmla="*/ 63 w 1057"/>
                <a:gd name="T57" fmla="*/ 11 h 228"/>
                <a:gd name="T58" fmla="*/ 87 w 1057"/>
                <a:gd name="T59" fmla="*/ 2 h 228"/>
                <a:gd name="T60" fmla="*/ 114 w 1057"/>
                <a:gd name="T6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7" h="228">
                  <a:moveTo>
                    <a:pt x="114" y="0"/>
                  </a:moveTo>
                  <a:lnTo>
                    <a:pt x="941" y="0"/>
                  </a:lnTo>
                  <a:lnTo>
                    <a:pt x="968" y="2"/>
                  </a:lnTo>
                  <a:lnTo>
                    <a:pt x="993" y="11"/>
                  </a:lnTo>
                  <a:lnTo>
                    <a:pt x="1013" y="24"/>
                  </a:lnTo>
                  <a:lnTo>
                    <a:pt x="1032" y="41"/>
                  </a:lnTo>
                  <a:lnTo>
                    <a:pt x="1046" y="63"/>
                  </a:lnTo>
                  <a:lnTo>
                    <a:pt x="1055" y="87"/>
                  </a:lnTo>
                  <a:lnTo>
                    <a:pt x="1057" y="113"/>
                  </a:lnTo>
                  <a:lnTo>
                    <a:pt x="1055" y="140"/>
                  </a:lnTo>
                  <a:lnTo>
                    <a:pt x="1046" y="165"/>
                  </a:lnTo>
                  <a:lnTo>
                    <a:pt x="1032" y="185"/>
                  </a:lnTo>
                  <a:lnTo>
                    <a:pt x="1013" y="203"/>
                  </a:lnTo>
                  <a:lnTo>
                    <a:pt x="993" y="216"/>
                  </a:lnTo>
                  <a:lnTo>
                    <a:pt x="968" y="225"/>
                  </a:lnTo>
                  <a:lnTo>
                    <a:pt x="941" y="228"/>
                  </a:lnTo>
                  <a:lnTo>
                    <a:pt x="114" y="228"/>
                  </a:lnTo>
                  <a:lnTo>
                    <a:pt x="87" y="225"/>
                  </a:lnTo>
                  <a:lnTo>
                    <a:pt x="63" y="216"/>
                  </a:lnTo>
                  <a:lnTo>
                    <a:pt x="42" y="203"/>
                  </a:lnTo>
                  <a:lnTo>
                    <a:pt x="24" y="185"/>
                  </a:lnTo>
                  <a:lnTo>
                    <a:pt x="11" y="165"/>
                  </a:lnTo>
                  <a:lnTo>
                    <a:pt x="2" y="140"/>
                  </a:lnTo>
                  <a:lnTo>
                    <a:pt x="0" y="113"/>
                  </a:lnTo>
                  <a:lnTo>
                    <a:pt x="2" y="87"/>
                  </a:lnTo>
                  <a:lnTo>
                    <a:pt x="11" y="63"/>
                  </a:lnTo>
                  <a:lnTo>
                    <a:pt x="24" y="41"/>
                  </a:lnTo>
                  <a:lnTo>
                    <a:pt x="42" y="24"/>
                  </a:lnTo>
                  <a:lnTo>
                    <a:pt x="63" y="11"/>
                  </a:lnTo>
                  <a:lnTo>
                    <a:pt x="87" y="2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35"/>
            <p:cNvSpPr>
              <a:spLocks/>
            </p:cNvSpPr>
            <p:nvPr/>
          </p:nvSpPr>
          <p:spPr bwMode="auto">
            <a:xfrm>
              <a:off x="-4484688" y="7226300"/>
              <a:ext cx="1677988" cy="361950"/>
            </a:xfrm>
            <a:custGeom>
              <a:avLst/>
              <a:gdLst>
                <a:gd name="T0" fmla="*/ 114 w 1057"/>
                <a:gd name="T1" fmla="*/ 0 h 228"/>
                <a:gd name="T2" fmla="*/ 941 w 1057"/>
                <a:gd name="T3" fmla="*/ 0 h 228"/>
                <a:gd name="T4" fmla="*/ 968 w 1057"/>
                <a:gd name="T5" fmla="*/ 3 h 228"/>
                <a:gd name="T6" fmla="*/ 993 w 1057"/>
                <a:gd name="T7" fmla="*/ 12 h 228"/>
                <a:gd name="T8" fmla="*/ 1013 w 1057"/>
                <a:gd name="T9" fmla="*/ 25 h 228"/>
                <a:gd name="T10" fmla="*/ 1032 w 1057"/>
                <a:gd name="T11" fmla="*/ 43 h 228"/>
                <a:gd name="T12" fmla="*/ 1046 w 1057"/>
                <a:gd name="T13" fmla="*/ 64 h 228"/>
                <a:gd name="T14" fmla="*/ 1055 w 1057"/>
                <a:gd name="T15" fmla="*/ 88 h 228"/>
                <a:gd name="T16" fmla="*/ 1057 w 1057"/>
                <a:gd name="T17" fmla="*/ 115 h 228"/>
                <a:gd name="T18" fmla="*/ 1055 w 1057"/>
                <a:gd name="T19" fmla="*/ 141 h 228"/>
                <a:gd name="T20" fmla="*/ 1046 w 1057"/>
                <a:gd name="T21" fmla="*/ 165 h 228"/>
                <a:gd name="T22" fmla="*/ 1032 w 1057"/>
                <a:gd name="T23" fmla="*/ 186 h 228"/>
                <a:gd name="T24" fmla="*/ 1013 w 1057"/>
                <a:gd name="T25" fmla="*/ 204 h 228"/>
                <a:gd name="T26" fmla="*/ 993 w 1057"/>
                <a:gd name="T27" fmla="*/ 217 h 228"/>
                <a:gd name="T28" fmla="*/ 968 w 1057"/>
                <a:gd name="T29" fmla="*/ 226 h 228"/>
                <a:gd name="T30" fmla="*/ 941 w 1057"/>
                <a:gd name="T31" fmla="*/ 228 h 228"/>
                <a:gd name="T32" fmla="*/ 114 w 1057"/>
                <a:gd name="T33" fmla="*/ 228 h 228"/>
                <a:gd name="T34" fmla="*/ 87 w 1057"/>
                <a:gd name="T35" fmla="*/ 226 h 228"/>
                <a:gd name="T36" fmla="*/ 63 w 1057"/>
                <a:gd name="T37" fmla="*/ 217 h 228"/>
                <a:gd name="T38" fmla="*/ 42 w 1057"/>
                <a:gd name="T39" fmla="*/ 204 h 228"/>
                <a:gd name="T40" fmla="*/ 24 w 1057"/>
                <a:gd name="T41" fmla="*/ 186 h 228"/>
                <a:gd name="T42" fmla="*/ 11 w 1057"/>
                <a:gd name="T43" fmla="*/ 165 h 228"/>
                <a:gd name="T44" fmla="*/ 2 w 1057"/>
                <a:gd name="T45" fmla="*/ 141 h 228"/>
                <a:gd name="T46" fmla="*/ 0 w 1057"/>
                <a:gd name="T47" fmla="*/ 115 h 228"/>
                <a:gd name="T48" fmla="*/ 2 w 1057"/>
                <a:gd name="T49" fmla="*/ 88 h 228"/>
                <a:gd name="T50" fmla="*/ 11 w 1057"/>
                <a:gd name="T51" fmla="*/ 64 h 228"/>
                <a:gd name="T52" fmla="*/ 24 w 1057"/>
                <a:gd name="T53" fmla="*/ 43 h 228"/>
                <a:gd name="T54" fmla="*/ 42 w 1057"/>
                <a:gd name="T55" fmla="*/ 25 h 228"/>
                <a:gd name="T56" fmla="*/ 63 w 1057"/>
                <a:gd name="T57" fmla="*/ 12 h 228"/>
                <a:gd name="T58" fmla="*/ 87 w 1057"/>
                <a:gd name="T59" fmla="*/ 3 h 228"/>
                <a:gd name="T60" fmla="*/ 114 w 1057"/>
                <a:gd name="T6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7" h="228">
                  <a:moveTo>
                    <a:pt x="114" y="0"/>
                  </a:moveTo>
                  <a:lnTo>
                    <a:pt x="941" y="0"/>
                  </a:lnTo>
                  <a:lnTo>
                    <a:pt x="968" y="3"/>
                  </a:lnTo>
                  <a:lnTo>
                    <a:pt x="993" y="12"/>
                  </a:lnTo>
                  <a:lnTo>
                    <a:pt x="1013" y="25"/>
                  </a:lnTo>
                  <a:lnTo>
                    <a:pt x="1032" y="43"/>
                  </a:lnTo>
                  <a:lnTo>
                    <a:pt x="1046" y="64"/>
                  </a:lnTo>
                  <a:lnTo>
                    <a:pt x="1055" y="88"/>
                  </a:lnTo>
                  <a:lnTo>
                    <a:pt x="1057" y="115"/>
                  </a:lnTo>
                  <a:lnTo>
                    <a:pt x="1055" y="141"/>
                  </a:lnTo>
                  <a:lnTo>
                    <a:pt x="1046" y="165"/>
                  </a:lnTo>
                  <a:lnTo>
                    <a:pt x="1032" y="186"/>
                  </a:lnTo>
                  <a:lnTo>
                    <a:pt x="1013" y="204"/>
                  </a:lnTo>
                  <a:lnTo>
                    <a:pt x="993" y="217"/>
                  </a:lnTo>
                  <a:lnTo>
                    <a:pt x="968" y="226"/>
                  </a:lnTo>
                  <a:lnTo>
                    <a:pt x="941" y="228"/>
                  </a:lnTo>
                  <a:lnTo>
                    <a:pt x="114" y="228"/>
                  </a:lnTo>
                  <a:lnTo>
                    <a:pt x="87" y="226"/>
                  </a:lnTo>
                  <a:lnTo>
                    <a:pt x="63" y="217"/>
                  </a:lnTo>
                  <a:lnTo>
                    <a:pt x="42" y="204"/>
                  </a:lnTo>
                  <a:lnTo>
                    <a:pt x="24" y="186"/>
                  </a:lnTo>
                  <a:lnTo>
                    <a:pt x="11" y="165"/>
                  </a:lnTo>
                  <a:lnTo>
                    <a:pt x="2" y="141"/>
                  </a:lnTo>
                  <a:lnTo>
                    <a:pt x="0" y="115"/>
                  </a:lnTo>
                  <a:lnTo>
                    <a:pt x="2" y="88"/>
                  </a:lnTo>
                  <a:lnTo>
                    <a:pt x="11" y="64"/>
                  </a:lnTo>
                  <a:lnTo>
                    <a:pt x="24" y="43"/>
                  </a:lnTo>
                  <a:lnTo>
                    <a:pt x="42" y="25"/>
                  </a:lnTo>
                  <a:lnTo>
                    <a:pt x="63" y="12"/>
                  </a:lnTo>
                  <a:lnTo>
                    <a:pt x="87" y="3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36"/>
            <p:cNvSpPr>
              <a:spLocks noEditPoints="1"/>
            </p:cNvSpPr>
            <p:nvPr/>
          </p:nvSpPr>
          <p:spPr bwMode="auto">
            <a:xfrm>
              <a:off x="-5121275" y="1619250"/>
              <a:ext cx="4464051" cy="6724650"/>
            </a:xfrm>
            <a:custGeom>
              <a:avLst/>
              <a:gdLst>
                <a:gd name="T0" fmla="*/ 1329 w 2812"/>
                <a:gd name="T1" fmla="*/ 330 h 4236"/>
                <a:gd name="T2" fmla="*/ 1329 w 2812"/>
                <a:gd name="T3" fmla="*/ 1459 h 4236"/>
                <a:gd name="T4" fmla="*/ 1331 w 2812"/>
                <a:gd name="T5" fmla="*/ 1471 h 4236"/>
                <a:gd name="T6" fmla="*/ 1335 w 2812"/>
                <a:gd name="T7" fmla="*/ 1479 h 4236"/>
                <a:gd name="T8" fmla="*/ 1341 w 2812"/>
                <a:gd name="T9" fmla="*/ 1483 h 4236"/>
                <a:gd name="T10" fmla="*/ 1350 w 2812"/>
                <a:gd name="T11" fmla="*/ 1484 h 4236"/>
                <a:gd name="T12" fmla="*/ 2485 w 2812"/>
                <a:gd name="T13" fmla="*/ 1484 h 4236"/>
                <a:gd name="T14" fmla="*/ 1329 w 2812"/>
                <a:gd name="T15" fmla="*/ 330 h 4236"/>
                <a:gd name="T16" fmla="*/ 251 w 2812"/>
                <a:gd name="T17" fmla="*/ 0 h 4236"/>
                <a:gd name="T18" fmla="*/ 1326 w 2812"/>
                <a:gd name="T19" fmla="*/ 0 h 4236"/>
                <a:gd name="T20" fmla="*/ 1329 w 2812"/>
                <a:gd name="T21" fmla="*/ 4 h 4236"/>
                <a:gd name="T22" fmla="*/ 2808 w 2812"/>
                <a:gd name="T23" fmla="*/ 1484 h 4236"/>
                <a:gd name="T24" fmla="*/ 2812 w 2812"/>
                <a:gd name="T25" fmla="*/ 1484 h 4236"/>
                <a:gd name="T26" fmla="*/ 2812 w 2812"/>
                <a:gd name="T27" fmla="*/ 2411 h 4236"/>
                <a:gd name="T28" fmla="*/ 2583 w 2812"/>
                <a:gd name="T29" fmla="*/ 2411 h 4236"/>
                <a:gd name="T30" fmla="*/ 2583 w 2812"/>
                <a:gd name="T31" fmla="*/ 1714 h 4236"/>
                <a:gd name="T32" fmla="*/ 1350 w 2812"/>
                <a:gd name="T33" fmla="*/ 1714 h 4236"/>
                <a:gd name="T34" fmla="*/ 1309 w 2812"/>
                <a:gd name="T35" fmla="*/ 1712 h 4236"/>
                <a:gd name="T36" fmla="*/ 1270 w 2812"/>
                <a:gd name="T37" fmla="*/ 1701 h 4236"/>
                <a:gd name="T38" fmla="*/ 1234 w 2812"/>
                <a:gd name="T39" fmla="*/ 1686 h 4236"/>
                <a:gd name="T40" fmla="*/ 1202 w 2812"/>
                <a:gd name="T41" fmla="*/ 1665 h 4236"/>
                <a:gd name="T42" fmla="*/ 1174 w 2812"/>
                <a:gd name="T43" fmla="*/ 1640 h 4236"/>
                <a:gd name="T44" fmla="*/ 1149 w 2812"/>
                <a:gd name="T45" fmla="*/ 1610 h 4236"/>
                <a:gd name="T46" fmla="*/ 1129 w 2812"/>
                <a:gd name="T47" fmla="*/ 1577 h 4236"/>
                <a:gd name="T48" fmla="*/ 1114 w 2812"/>
                <a:gd name="T49" fmla="*/ 1540 h 4236"/>
                <a:gd name="T50" fmla="*/ 1105 w 2812"/>
                <a:gd name="T51" fmla="*/ 1501 h 4236"/>
                <a:gd name="T52" fmla="*/ 1101 w 2812"/>
                <a:gd name="T53" fmla="*/ 1459 h 4236"/>
                <a:gd name="T54" fmla="*/ 1101 w 2812"/>
                <a:gd name="T55" fmla="*/ 228 h 4236"/>
                <a:gd name="T56" fmla="*/ 251 w 2812"/>
                <a:gd name="T57" fmla="*/ 228 h 4236"/>
                <a:gd name="T58" fmla="*/ 240 w 2812"/>
                <a:gd name="T59" fmla="*/ 230 h 4236"/>
                <a:gd name="T60" fmla="*/ 233 w 2812"/>
                <a:gd name="T61" fmla="*/ 237 h 4236"/>
                <a:gd name="T62" fmla="*/ 231 w 2812"/>
                <a:gd name="T63" fmla="*/ 249 h 4236"/>
                <a:gd name="T64" fmla="*/ 231 w 2812"/>
                <a:gd name="T65" fmla="*/ 3987 h 4236"/>
                <a:gd name="T66" fmla="*/ 233 w 2812"/>
                <a:gd name="T67" fmla="*/ 3999 h 4236"/>
                <a:gd name="T68" fmla="*/ 240 w 2812"/>
                <a:gd name="T69" fmla="*/ 4005 h 4236"/>
                <a:gd name="T70" fmla="*/ 251 w 2812"/>
                <a:gd name="T71" fmla="*/ 4008 h 4236"/>
                <a:gd name="T72" fmla="*/ 1605 w 2812"/>
                <a:gd name="T73" fmla="*/ 4008 h 4236"/>
                <a:gd name="T74" fmla="*/ 1605 w 2812"/>
                <a:gd name="T75" fmla="*/ 4236 h 4236"/>
                <a:gd name="T76" fmla="*/ 251 w 2812"/>
                <a:gd name="T77" fmla="*/ 4236 h 4236"/>
                <a:gd name="T78" fmla="*/ 210 w 2812"/>
                <a:gd name="T79" fmla="*/ 4232 h 4236"/>
                <a:gd name="T80" fmla="*/ 171 w 2812"/>
                <a:gd name="T81" fmla="*/ 4223 h 4236"/>
                <a:gd name="T82" fmla="*/ 135 w 2812"/>
                <a:gd name="T83" fmla="*/ 4209 h 4236"/>
                <a:gd name="T84" fmla="*/ 102 w 2812"/>
                <a:gd name="T85" fmla="*/ 4188 h 4236"/>
                <a:gd name="T86" fmla="*/ 74 w 2812"/>
                <a:gd name="T87" fmla="*/ 4163 h 4236"/>
                <a:gd name="T88" fmla="*/ 48 w 2812"/>
                <a:gd name="T89" fmla="*/ 4135 h 4236"/>
                <a:gd name="T90" fmla="*/ 28 w 2812"/>
                <a:gd name="T91" fmla="*/ 4103 h 4236"/>
                <a:gd name="T92" fmla="*/ 13 w 2812"/>
                <a:gd name="T93" fmla="*/ 4067 h 4236"/>
                <a:gd name="T94" fmla="*/ 4 w 2812"/>
                <a:gd name="T95" fmla="*/ 4028 h 4236"/>
                <a:gd name="T96" fmla="*/ 0 w 2812"/>
                <a:gd name="T97" fmla="*/ 3987 h 4236"/>
                <a:gd name="T98" fmla="*/ 0 w 2812"/>
                <a:gd name="T99" fmla="*/ 249 h 4236"/>
                <a:gd name="T100" fmla="*/ 4 w 2812"/>
                <a:gd name="T101" fmla="*/ 209 h 4236"/>
                <a:gd name="T102" fmla="*/ 13 w 2812"/>
                <a:gd name="T103" fmla="*/ 170 h 4236"/>
                <a:gd name="T104" fmla="*/ 27 w 2812"/>
                <a:gd name="T105" fmla="*/ 136 h 4236"/>
                <a:gd name="T106" fmla="*/ 48 w 2812"/>
                <a:gd name="T107" fmla="*/ 102 h 4236"/>
                <a:gd name="T108" fmla="*/ 74 w 2812"/>
                <a:gd name="T109" fmla="*/ 73 h 4236"/>
                <a:gd name="T110" fmla="*/ 103 w 2812"/>
                <a:gd name="T111" fmla="*/ 47 h 4236"/>
                <a:gd name="T112" fmla="*/ 137 w 2812"/>
                <a:gd name="T113" fmla="*/ 26 h 4236"/>
                <a:gd name="T114" fmla="*/ 171 w 2812"/>
                <a:gd name="T115" fmla="*/ 12 h 4236"/>
                <a:gd name="T116" fmla="*/ 210 w 2812"/>
                <a:gd name="T117" fmla="*/ 3 h 4236"/>
                <a:gd name="T118" fmla="*/ 251 w 2812"/>
                <a:gd name="T119" fmla="*/ 0 h 4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12" h="4236">
                  <a:moveTo>
                    <a:pt x="1329" y="330"/>
                  </a:moveTo>
                  <a:lnTo>
                    <a:pt x="1329" y="1459"/>
                  </a:lnTo>
                  <a:lnTo>
                    <a:pt x="1331" y="1471"/>
                  </a:lnTo>
                  <a:lnTo>
                    <a:pt x="1335" y="1479"/>
                  </a:lnTo>
                  <a:lnTo>
                    <a:pt x="1341" y="1483"/>
                  </a:lnTo>
                  <a:lnTo>
                    <a:pt x="1350" y="1484"/>
                  </a:lnTo>
                  <a:lnTo>
                    <a:pt x="2485" y="1484"/>
                  </a:lnTo>
                  <a:lnTo>
                    <a:pt x="1329" y="330"/>
                  </a:lnTo>
                  <a:close/>
                  <a:moveTo>
                    <a:pt x="251" y="0"/>
                  </a:moveTo>
                  <a:lnTo>
                    <a:pt x="1326" y="0"/>
                  </a:lnTo>
                  <a:lnTo>
                    <a:pt x="1329" y="4"/>
                  </a:lnTo>
                  <a:lnTo>
                    <a:pt x="2808" y="1484"/>
                  </a:lnTo>
                  <a:lnTo>
                    <a:pt x="2812" y="1484"/>
                  </a:lnTo>
                  <a:lnTo>
                    <a:pt x="2812" y="2411"/>
                  </a:lnTo>
                  <a:lnTo>
                    <a:pt x="2583" y="2411"/>
                  </a:lnTo>
                  <a:lnTo>
                    <a:pt x="2583" y="1714"/>
                  </a:lnTo>
                  <a:lnTo>
                    <a:pt x="1350" y="1714"/>
                  </a:lnTo>
                  <a:lnTo>
                    <a:pt x="1309" y="1712"/>
                  </a:lnTo>
                  <a:lnTo>
                    <a:pt x="1270" y="1701"/>
                  </a:lnTo>
                  <a:lnTo>
                    <a:pt x="1234" y="1686"/>
                  </a:lnTo>
                  <a:lnTo>
                    <a:pt x="1202" y="1665"/>
                  </a:lnTo>
                  <a:lnTo>
                    <a:pt x="1174" y="1640"/>
                  </a:lnTo>
                  <a:lnTo>
                    <a:pt x="1149" y="1610"/>
                  </a:lnTo>
                  <a:lnTo>
                    <a:pt x="1129" y="1577"/>
                  </a:lnTo>
                  <a:lnTo>
                    <a:pt x="1114" y="1540"/>
                  </a:lnTo>
                  <a:lnTo>
                    <a:pt x="1105" y="1501"/>
                  </a:lnTo>
                  <a:lnTo>
                    <a:pt x="1101" y="1459"/>
                  </a:lnTo>
                  <a:lnTo>
                    <a:pt x="1101" y="228"/>
                  </a:lnTo>
                  <a:lnTo>
                    <a:pt x="251" y="228"/>
                  </a:lnTo>
                  <a:lnTo>
                    <a:pt x="240" y="230"/>
                  </a:lnTo>
                  <a:lnTo>
                    <a:pt x="233" y="237"/>
                  </a:lnTo>
                  <a:lnTo>
                    <a:pt x="231" y="249"/>
                  </a:lnTo>
                  <a:lnTo>
                    <a:pt x="231" y="3987"/>
                  </a:lnTo>
                  <a:lnTo>
                    <a:pt x="233" y="3999"/>
                  </a:lnTo>
                  <a:lnTo>
                    <a:pt x="240" y="4005"/>
                  </a:lnTo>
                  <a:lnTo>
                    <a:pt x="251" y="4008"/>
                  </a:lnTo>
                  <a:lnTo>
                    <a:pt x="1605" y="4008"/>
                  </a:lnTo>
                  <a:lnTo>
                    <a:pt x="1605" y="4236"/>
                  </a:lnTo>
                  <a:lnTo>
                    <a:pt x="251" y="4236"/>
                  </a:lnTo>
                  <a:lnTo>
                    <a:pt x="210" y="4232"/>
                  </a:lnTo>
                  <a:lnTo>
                    <a:pt x="171" y="4223"/>
                  </a:lnTo>
                  <a:lnTo>
                    <a:pt x="135" y="4209"/>
                  </a:lnTo>
                  <a:lnTo>
                    <a:pt x="102" y="4188"/>
                  </a:lnTo>
                  <a:lnTo>
                    <a:pt x="74" y="4163"/>
                  </a:lnTo>
                  <a:lnTo>
                    <a:pt x="48" y="4135"/>
                  </a:lnTo>
                  <a:lnTo>
                    <a:pt x="28" y="4103"/>
                  </a:lnTo>
                  <a:lnTo>
                    <a:pt x="13" y="4067"/>
                  </a:lnTo>
                  <a:lnTo>
                    <a:pt x="4" y="4028"/>
                  </a:lnTo>
                  <a:lnTo>
                    <a:pt x="0" y="3987"/>
                  </a:lnTo>
                  <a:lnTo>
                    <a:pt x="0" y="249"/>
                  </a:lnTo>
                  <a:lnTo>
                    <a:pt x="4" y="209"/>
                  </a:lnTo>
                  <a:lnTo>
                    <a:pt x="13" y="170"/>
                  </a:lnTo>
                  <a:lnTo>
                    <a:pt x="27" y="136"/>
                  </a:lnTo>
                  <a:lnTo>
                    <a:pt x="48" y="102"/>
                  </a:lnTo>
                  <a:lnTo>
                    <a:pt x="74" y="73"/>
                  </a:lnTo>
                  <a:lnTo>
                    <a:pt x="103" y="47"/>
                  </a:lnTo>
                  <a:lnTo>
                    <a:pt x="137" y="26"/>
                  </a:lnTo>
                  <a:lnTo>
                    <a:pt x="171" y="12"/>
                  </a:lnTo>
                  <a:lnTo>
                    <a:pt x="210" y="3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5" name="Rectangle 174"/>
          <p:cNvSpPr/>
          <p:nvPr/>
        </p:nvSpPr>
        <p:spPr>
          <a:xfrm>
            <a:off x="623578" y="3463243"/>
            <a:ext cx="17965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дите сроки 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К, страновой команде, партнерам и сектору по работе с СКК</a:t>
            </a:r>
          </a:p>
        </p:txBody>
      </p:sp>
      <p:sp>
        <p:nvSpPr>
          <p:cNvPr id="178" name="Rectangle 177"/>
          <p:cNvSpPr/>
          <p:nvPr/>
        </p:nvSpPr>
        <p:spPr>
          <a:xfrm>
            <a:off x="2936176" y="1919039"/>
            <a:ext cx="1644517" cy="1759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300"/>
              </a:lnSpc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ентируйтесь на подход к Развитию 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использованием в дистанционном режиме пороговых результатов и результатов вводного курса</a:t>
            </a:r>
          </a:p>
        </p:txBody>
      </p:sp>
      <p:sp>
        <p:nvSpPr>
          <p:cNvPr id="186" name="Title 1">
            <a:extLst>
              <a:ext uri="{FF2B5EF4-FFF2-40B4-BE49-F238E27FC236}">
                <a16:creationId xmlns:a16="http://schemas.microsoft.com/office/drawing/2014/main" id="{DEA3625A-8F38-41AC-9AA1-2CBA63C1C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67" y="294571"/>
            <a:ext cx="11361575" cy="455307"/>
          </a:xfrm>
        </p:spPr>
        <p:txBody>
          <a:bodyPr>
            <a:no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Какие сроки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IN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Boardroom">
            <a:extLst>
              <a:ext uri="{FF2B5EF4-FFF2-40B4-BE49-F238E27FC236}">
                <a16:creationId xmlns:a16="http://schemas.microsoft.com/office/drawing/2014/main" id="{5ABB7E7B-5BB9-4A81-80F6-76995C38F3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6041" y="2576742"/>
            <a:ext cx="914400" cy="914400"/>
          </a:xfrm>
          <a:prstGeom prst="rect">
            <a:avLst/>
          </a:prstGeom>
        </p:spPr>
      </p:pic>
      <p:grpSp>
        <p:nvGrpSpPr>
          <p:cNvPr id="187" name="Group 186">
            <a:extLst>
              <a:ext uri="{FF2B5EF4-FFF2-40B4-BE49-F238E27FC236}">
                <a16:creationId xmlns:a16="http://schemas.microsoft.com/office/drawing/2014/main" id="{47212818-AF92-4441-B79E-1A741534B57E}"/>
              </a:ext>
            </a:extLst>
          </p:cNvPr>
          <p:cNvGrpSpPr/>
          <p:nvPr/>
        </p:nvGrpSpPr>
        <p:grpSpPr>
          <a:xfrm>
            <a:off x="2534443" y="2202580"/>
            <a:ext cx="427159" cy="517660"/>
            <a:chOff x="-6784976" y="-1011241"/>
            <a:chExt cx="4090988" cy="4921258"/>
          </a:xfrm>
          <a:solidFill>
            <a:schemeClr val="tx1"/>
          </a:solidFill>
        </p:grpSpPr>
        <p:sp>
          <p:nvSpPr>
            <p:cNvPr id="188" name="Freeform 52">
              <a:extLst>
                <a:ext uri="{FF2B5EF4-FFF2-40B4-BE49-F238E27FC236}">
                  <a16:creationId xmlns:a16="http://schemas.microsoft.com/office/drawing/2014/main" id="{372AC4CD-7FBA-475B-8D66-18CA84403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84975" y="-1011238"/>
              <a:ext cx="4090988" cy="4921251"/>
            </a:xfrm>
            <a:custGeom>
              <a:avLst/>
              <a:gdLst>
                <a:gd name="T0" fmla="*/ 414 w 5155"/>
                <a:gd name="T1" fmla="*/ 1082 h 6202"/>
                <a:gd name="T2" fmla="*/ 370 w 5155"/>
                <a:gd name="T3" fmla="*/ 1114 h 6202"/>
                <a:gd name="T4" fmla="*/ 353 w 5155"/>
                <a:gd name="T5" fmla="*/ 1167 h 6202"/>
                <a:gd name="T6" fmla="*/ 359 w 5155"/>
                <a:gd name="T7" fmla="*/ 5787 h 6202"/>
                <a:gd name="T8" fmla="*/ 389 w 5155"/>
                <a:gd name="T9" fmla="*/ 5830 h 6202"/>
                <a:gd name="T10" fmla="*/ 442 w 5155"/>
                <a:gd name="T11" fmla="*/ 5847 h 6202"/>
                <a:gd name="T12" fmla="*/ 3896 w 5155"/>
                <a:gd name="T13" fmla="*/ 5843 h 6202"/>
                <a:gd name="T14" fmla="*/ 3940 w 5155"/>
                <a:gd name="T15" fmla="*/ 5811 h 6202"/>
                <a:gd name="T16" fmla="*/ 3957 w 5155"/>
                <a:gd name="T17" fmla="*/ 5758 h 6202"/>
                <a:gd name="T18" fmla="*/ 1288 w 5155"/>
                <a:gd name="T19" fmla="*/ 5475 h 6202"/>
                <a:gd name="T20" fmla="*/ 1148 w 5155"/>
                <a:gd name="T21" fmla="*/ 5455 h 6202"/>
                <a:gd name="T22" fmla="*/ 1025 w 5155"/>
                <a:gd name="T23" fmla="*/ 5390 h 6202"/>
                <a:gd name="T24" fmla="*/ 931 w 5155"/>
                <a:gd name="T25" fmla="*/ 5294 h 6202"/>
                <a:gd name="T26" fmla="*/ 867 w 5155"/>
                <a:gd name="T27" fmla="*/ 5173 h 6202"/>
                <a:gd name="T28" fmla="*/ 844 w 5155"/>
                <a:gd name="T29" fmla="*/ 5034 h 6202"/>
                <a:gd name="T30" fmla="*/ 442 w 5155"/>
                <a:gd name="T31" fmla="*/ 1078 h 6202"/>
                <a:gd name="T32" fmla="*/ 1259 w 5155"/>
                <a:gd name="T33" fmla="*/ 357 h 6202"/>
                <a:gd name="T34" fmla="*/ 1216 w 5155"/>
                <a:gd name="T35" fmla="*/ 389 h 6202"/>
                <a:gd name="T36" fmla="*/ 1199 w 5155"/>
                <a:gd name="T37" fmla="*/ 442 h 6202"/>
                <a:gd name="T38" fmla="*/ 1203 w 5155"/>
                <a:gd name="T39" fmla="*/ 5062 h 6202"/>
                <a:gd name="T40" fmla="*/ 1235 w 5155"/>
                <a:gd name="T41" fmla="*/ 5105 h 6202"/>
                <a:gd name="T42" fmla="*/ 1288 w 5155"/>
                <a:gd name="T43" fmla="*/ 5122 h 6202"/>
                <a:gd name="T44" fmla="*/ 4742 w 5155"/>
                <a:gd name="T45" fmla="*/ 5119 h 6202"/>
                <a:gd name="T46" fmla="*/ 4785 w 5155"/>
                <a:gd name="T47" fmla="*/ 5087 h 6202"/>
                <a:gd name="T48" fmla="*/ 4802 w 5155"/>
                <a:gd name="T49" fmla="*/ 5034 h 6202"/>
                <a:gd name="T50" fmla="*/ 4797 w 5155"/>
                <a:gd name="T51" fmla="*/ 414 h 6202"/>
                <a:gd name="T52" fmla="*/ 4765 w 5155"/>
                <a:gd name="T53" fmla="*/ 370 h 6202"/>
                <a:gd name="T54" fmla="*/ 4714 w 5155"/>
                <a:gd name="T55" fmla="*/ 353 h 6202"/>
                <a:gd name="T56" fmla="*/ 1288 w 5155"/>
                <a:gd name="T57" fmla="*/ 0 h 6202"/>
                <a:gd name="T58" fmla="*/ 4785 w 5155"/>
                <a:gd name="T59" fmla="*/ 6 h 6202"/>
                <a:gd name="T60" fmla="*/ 4916 w 5155"/>
                <a:gd name="T61" fmla="*/ 49 h 6202"/>
                <a:gd name="T62" fmla="*/ 5025 w 5155"/>
                <a:gd name="T63" fmla="*/ 129 h 6202"/>
                <a:gd name="T64" fmla="*/ 5106 w 5155"/>
                <a:gd name="T65" fmla="*/ 238 h 6202"/>
                <a:gd name="T66" fmla="*/ 5150 w 5155"/>
                <a:gd name="T67" fmla="*/ 370 h 6202"/>
                <a:gd name="T68" fmla="*/ 5155 w 5155"/>
                <a:gd name="T69" fmla="*/ 5034 h 6202"/>
                <a:gd name="T70" fmla="*/ 5133 w 5155"/>
                <a:gd name="T71" fmla="*/ 5173 h 6202"/>
                <a:gd name="T72" fmla="*/ 5070 w 5155"/>
                <a:gd name="T73" fmla="*/ 5294 h 6202"/>
                <a:gd name="T74" fmla="*/ 4974 w 5155"/>
                <a:gd name="T75" fmla="*/ 5390 h 6202"/>
                <a:gd name="T76" fmla="*/ 4853 w 5155"/>
                <a:gd name="T77" fmla="*/ 5455 h 6202"/>
                <a:gd name="T78" fmla="*/ 4714 w 5155"/>
                <a:gd name="T79" fmla="*/ 5475 h 6202"/>
                <a:gd name="T80" fmla="*/ 4312 w 5155"/>
                <a:gd name="T81" fmla="*/ 5758 h 6202"/>
                <a:gd name="T82" fmla="*/ 4289 w 5155"/>
                <a:gd name="T83" fmla="*/ 5898 h 6202"/>
                <a:gd name="T84" fmla="*/ 4225 w 5155"/>
                <a:gd name="T85" fmla="*/ 6019 h 6202"/>
                <a:gd name="T86" fmla="*/ 4130 w 5155"/>
                <a:gd name="T87" fmla="*/ 6115 h 6202"/>
                <a:gd name="T88" fmla="*/ 4008 w 5155"/>
                <a:gd name="T89" fmla="*/ 6179 h 6202"/>
                <a:gd name="T90" fmla="*/ 3868 w 5155"/>
                <a:gd name="T91" fmla="*/ 6202 h 6202"/>
                <a:gd name="T92" fmla="*/ 370 w 5155"/>
                <a:gd name="T93" fmla="*/ 6194 h 6202"/>
                <a:gd name="T94" fmla="*/ 240 w 5155"/>
                <a:gd name="T95" fmla="*/ 6151 h 6202"/>
                <a:gd name="T96" fmla="*/ 129 w 5155"/>
                <a:gd name="T97" fmla="*/ 6072 h 6202"/>
                <a:gd name="T98" fmla="*/ 49 w 5155"/>
                <a:gd name="T99" fmla="*/ 5962 h 6202"/>
                <a:gd name="T100" fmla="*/ 6 w 5155"/>
                <a:gd name="T101" fmla="*/ 5830 h 6202"/>
                <a:gd name="T102" fmla="*/ 0 w 5155"/>
                <a:gd name="T103" fmla="*/ 1167 h 6202"/>
                <a:gd name="T104" fmla="*/ 23 w 5155"/>
                <a:gd name="T105" fmla="*/ 1027 h 6202"/>
                <a:gd name="T106" fmla="*/ 85 w 5155"/>
                <a:gd name="T107" fmla="*/ 906 h 6202"/>
                <a:gd name="T108" fmla="*/ 182 w 5155"/>
                <a:gd name="T109" fmla="*/ 810 h 6202"/>
                <a:gd name="T110" fmla="*/ 302 w 5155"/>
                <a:gd name="T111" fmla="*/ 748 h 6202"/>
                <a:gd name="T112" fmla="*/ 442 w 5155"/>
                <a:gd name="T113" fmla="*/ 725 h 6202"/>
                <a:gd name="T114" fmla="*/ 844 w 5155"/>
                <a:gd name="T115" fmla="*/ 442 h 6202"/>
                <a:gd name="T116" fmla="*/ 867 w 5155"/>
                <a:gd name="T117" fmla="*/ 302 h 6202"/>
                <a:gd name="T118" fmla="*/ 931 w 5155"/>
                <a:gd name="T119" fmla="*/ 182 h 6202"/>
                <a:gd name="T120" fmla="*/ 1025 w 5155"/>
                <a:gd name="T121" fmla="*/ 85 h 6202"/>
                <a:gd name="T122" fmla="*/ 1148 w 5155"/>
                <a:gd name="T123" fmla="*/ 23 h 6202"/>
                <a:gd name="T124" fmla="*/ 1288 w 5155"/>
                <a:gd name="T125" fmla="*/ 0 h 6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55" h="6202">
                  <a:moveTo>
                    <a:pt x="442" y="1078"/>
                  </a:moveTo>
                  <a:lnTo>
                    <a:pt x="414" y="1082"/>
                  </a:lnTo>
                  <a:lnTo>
                    <a:pt x="389" y="1095"/>
                  </a:lnTo>
                  <a:lnTo>
                    <a:pt x="370" y="1114"/>
                  </a:lnTo>
                  <a:lnTo>
                    <a:pt x="359" y="1138"/>
                  </a:lnTo>
                  <a:lnTo>
                    <a:pt x="353" y="1167"/>
                  </a:lnTo>
                  <a:lnTo>
                    <a:pt x="353" y="5758"/>
                  </a:lnTo>
                  <a:lnTo>
                    <a:pt x="359" y="5787"/>
                  </a:lnTo>
                  <a:lnTo>
                    <a:pt x="370" y="5811"/>
                  </a:lnTo>
                  <a:lnTo>
                    <a:pt x="389" y="5830"/>
                  </a:lnTo>
                  <a:lnTo>
                    <a:pt x="414" y="5843"/>
                  </a:lnTo>
                  <a:lnTo>
                    <a:pt x="442" y="5847"/>
                  </a:lnTo>
                  <a:lnTo>
                    <a:pt x="3868" y="5847"/>
                  </a:lnTo>
                  <a:lnTo>
                    <a:pt x="3896" y="5843"/>
                  </a:lnTo>
                  <a:lnTo>
                    <a:pt x="3921" y="5830"/>
                  </a:lnTo>
                  <a:lnTo>
                    <a:pt x="3940" y="5811"/>
                  </a:lnTo>
                  <a:lnTo>
                    <a:pt x="3953" y="5787"/>
                  </a:lnTo>
                  <a:lnTo>
                    <a:pt x="3957" y="5758"/>
                  </a:lnTo>
                  <a:lnTo>
                    <a:pt x="3957" y="5475"/>
                  </a:lnTo>
                  <a:lnTo>
                    <a:pt x="1288" y="5475"/>
                  </a:lnTo>
                  <a:lnTo>
                    <a:pt x="1216" y="5470"/>
                  </a:lnTo>
                  <a:lnTo>
                    <a:pt x="1148" y="5455"/>
                  </a:lnTo>
                  <a:lnTo>
                    <a:pt x="1084" y="5426"/>
                  </a:lnTo>
                  <a:lnTo>
                    <a:pt x="1025" y="5390"/>
                  </a:lnTo>
                  <a:lnTo>
                    <a:pt x="974" y="5347"/>
                  </a:lnTo>
                  <a:lnTo>
                    <a:pt x="931" y="5294"/>
                  </a:lnTo>
                  <a:lnTo>
                    <a:pt x="895" y="5238"/>
                  </a:lnTo>
                  <a:lnTo>
                    <a:pt x="867" y="5173"/>
                  </a:lnTo>
                  <a:lnTo>
                    <a:pt x="852" y="5105"/>
                  </a:lnTo>
                  <a:lnTo>
                    <a:pt x="844" y="5034"/>
                  </a:lnTo>
                  <a:lnTo>
                    <a:pt x="844" y="1078"/>
                  </a:lnTo>
                  <a:lnTo>
                    <a:pt x="442" y="1078"/>
                  </a:lnTo>
                  <a:close/>
                  <a:moveTo>
                    <a:pt x="1288" y="353"/>
                  </a:moveTo>
                  <a:lnTo>
                    <a:pt x="1259" y="357"/>
                  </a:lnTo>
                  <a:lnTo>
                    <a:pt x="1235" y="370"/>
                  </a:lnTo>
                  <a:lnTo>
                    <a:pt x="1216" y="389"/>
                  </a:lnTo>
                  <a:lnTo>
                    <a:pt x="1203" y="414"/>
                  </a:lnTo>
                  <a:lnTo>
                    <a:pt x="1199" y="442"/>
                  </a:lnTo>
                  <a:lnTo>
                    <a:pt x="1199" y="5034"/>
                  </a:lnTo>
                  <a:lnTo>
                    <a:pt x="1203" y="5062"/>
                  </a:lnTo>
                  <a:lnTo>
                    <a:pt x="1216" y="5087"/>
                  </a:lnTo>
                  <a:lnTo>
                    <a:pt x="1235" y="5105"/>
                  </a:lnTo>
                  <a:lnTo>
                    <a:pt x="1259" y="5119"/>
                  </a:lnTo>
                  <a:lnTo>
                    <a:pt x="1288" y="5122"/>
                  </a:lnTo>
                  <a:lnTo>
                    <a:pt x="4714" y="5122"/>
                  </a:lnTo>
                  <a:lnTo>
                    <a:pt x="4742" y="5119"/>
                  </a:lnTo>
                  <a:lnTo>
                    <a:pt x="4765" y="5105"/>
                  </a:lnTo>
                  <a:lnTo>
                    <a:pt x="4785" y="5087"/>
                  </a:lnTo>
                  <a:lnTo>
                    <a:pt x="4797" y="5062"/>
                  </a:lnTo>
                  <a:lnTo>
                    <a:pt x="4802" y="5034"/>
                  </a:lnTo>
                  <a:lnTo>
                    <a:pt x="4802" y="442"/>
                  </a:lnTo>
                  <a:lnTo>
                    <a:pt x="4797" y="414"/>
                  </a:lnTo>
                  <a:lnTo>
                    <a:pt x="4785" y="389"/>
                  </a:lnTo>
                  <a:lnTo>
                    <a:pt x="4765" y="370"/>
                  </a:lnTo>
                  <a:lnTo>
                    <a:pt x="4742" y="357"/>
                  </a:lnTo>
                  <a:lnTo>
                    <a:pt x="4714" y="353"/>
                  </a:lnTo>
                  <a:lnTo>
                    <a:pt x="1288" y="353"/>
                  </a:lnTo>
                  <a:close/>
                  <a:moveTo>
                    <a:pt x="1288" y="0"/>
                  </a:moveTo>
                  <a:lnTo>
                    <a:pt x="4714" y="0"/>
                  </a:lnTo>
                  <a:lnTo>
                    <a:pt x="4785" y="6"/>
                  </a:lnTo>
                  <a:lnTo>
                    <a:pt x="4853" y="23"/>
                  </a:lnTo>
                  <a:lnTo>
                    <a:pt x="4916" y="49"/>
                  </a:lnTo>
                  <a:lnTo>
                    <a:pt x="4974" y="85"/>
                  </a:lnTo>
                  <a:lnTo>
                    <a:pt x="5025" y="129"/>
                  </a:lnTo>
                  <a:lnTo>
                    <a:pt x="5070" y="182"/>
                  </a:lnTo>
                  <a:lnTo>
                    <a:pt x="5106" y="238"/>
                  </a:lnTo>
                  <a:lnTo>
                    <a:pt x="5133" y="302"/>
                  </a:lnTo>
                  <a:lnTo>
                    <a:pt x="5150" y="370"/>
                  </a:lnTo>
                  <a:lnTo>
                    <a:pt x="5155" y="442"/>
                  </a:lnTo>
                  <a:lnTo>
                    <a:pt x="5155" y="5034"/>
                  </a:lnTo>
                  <a:lnTo>
                    <a:pt x="5150" y="5105"/>
                  </a:lnTo>
                  <a:lnTo>
                    <a:pt x="5133" y="5173"/>
                  </a:lnTo>
                  <a:lnTo>
                    <a:pt x="5106" y="5238"/>
                  </a:lnTo>
                  <a:lnTo>
                    <a:pt x="5070" y="5294"/>
                  </a:lnTo>
                  <a:lnTo>
                    <a:pt x="5025" y="5347"/>
                  </a:lnTo>
                  <a:lnTo>
                    <a:pt x="4974" y="5390"/>
                  </a:lnTo>
                  <a:lnTo>
                    <a:pt x="4916" y="5426"/>
                  </a:lnTo>
                  <a:lnTo>
                    <a:pt x="4853" y="5455"/>
                  </a:lnTo>
                  <a:lnTo>
                    <a:pt x="4785" y="5470"/>
                  </a:lnTo>
                  <a:lnTo>
                    <a:pt x="4714" y="5475"/>
                  </a:lnTo>
                  <a:lnTo>
                    <a:pt x="4312" y="5475"/>
                  </a:lnTo>
                  <a:lnTo>
                    <a:pt x="4312" y="5758"/>
                  </a:lnTo>
                  <a:lnTo>
                    <a:pt x="4304" y="5830"/>
                  </a:lnTo>
                  <a:lnTo>
                    <a:pt x="4289" y="5898"/>
                  </a:lnTo>
                  <a:lnTo>
                    <a:pt x="4261" y="5962"/>
                  </a:lnTo>
                  <a:lnTo>
                    <a:pt x="4225" y="6019"/>
                  </a:lnTo>
                  <a:lnTo>
                    <a:pt x="4181" y="6072"/>
                  </a:lnTo>
                  <a:lnTo>
                    <a:pt x="4130" y="6115"/>
                  </a:lnTo>
                  <a:lnTo>
                    <a:pt x="4072" y="6151"/>
                  </a:lnTo>
                  <a:lnTo>
                    <a:pt x="4008" y="6179"/>
                  </a:lnTo>
                  <a:lnTo>
                    <a:pt x="3940" y="6194"/>
                  </a:lnTo>
                  <a:lnTo>
                    <a:pt x="3868" y="6202"/>
                  </a:lnTo>
                  <a:lnTo>
                    <a:pt x="442" y="6202"/>
                  </a:lnTo>
                  <a:lnTo>
                    <a:pt x="370" y="6194"/>
                  </a:lnTo>
                  <a:lnTo>
                    <a:pt x="302" y="6179"/>
                  </a:lnTo>
                  <a:lnTo>
                    <a:pt x="240" y="6151"/>
                  </a:lnTo>
                  <a:lnTo>
                    <a:pt x="182" y="6115"/>
                  </a:lnTo>
                  <a:lnTo>
                    <a:pt x="129" y="6072"/>
                  </a:lnTo>
                  <a:lnTo>
                    <a:pt x="85" y="6019"/>
                  </a:lnTo>
                  <a:lnTo>
                    <a:pt x="49" y="5962"/>
                  </a:lnTo>
                  <a:lnTo>
                    <a:pt x="23" y="5898"/>
                  </a:lnTo>
                  <a:lnTo>
                    <a:pt x="6" y="5830"/>
                  </a:lnTo>
                  <a:lnTo>
                    <a:pt x="0" y="5758"/>
                  </a:lnTo>
                  <a:lnTo>
                    <a:pt x="0" y="1167"/>
                  </a:lnTo>
                  <a:lnTo>
                    <a:pt x="6" y="1095"/>
                  </a:lnTo>
                  <a:lnTo>
                    <a:pt x="23" y="1027"/>
                  </a:lnTo>
                  <a:lnTo>
                    <a:pt x="49" y="963"/>
                  </a:lnTo>
                  <a:lnTo>
                    <a:pt x="85" y="906"/>
                  </a:lnTo>
                  <a:lnTo>
                    <a:pt x="129" y="853"/>
                  </a:lnTo>
                  <a:lnTo>
                    <a:pt x="182" y="810"/>
                  </a:lnTo>
                  <a:lnTo>
                    <a:pt x="240" y="774"/>
                  </a:lnTo>
                  <a:lnTo>
                    <a:pt x="302" y="748"/>
                  </a:lnTo>
                  <a:lnTo>
                    <a:pt x="370" y="731"/>
                  </a:lnTo>
                  <a:lnTo>
                    <a:pt x="442" y="725"/>
                  </a:lnTo>
                  <a:lnTo>
                    <a:pt x="844" y="725"/>
                  </a:lnTo>
                  <a:lnTo>
                    <a:pt x="844" y="442"/>
                  </a:lnTo>
                  <a:lnTo>
                    <a:pt x="852" y="370"/>
                  </a:lnTo>
                  <a:lnTo>
                    <a:pt x="867" y="302"/>
                  </a:lnTo>
                  <a:lnTo>
                    <a:pt x="895" y="238"/>
                  </a:lnTo>
                  <a:lnTo>
                    <a:pt x="931" y="182"/>
                  </a:lnTo>
                  <a:lnTo>
                    <a:pt x="974" y="129"/>
                  </a:lnTo>
                  <a:lnTo>
                    <a:pt x="1025" y="85"/>
                  </a:lnTo>
                  <a:lnTo>
                    <a:pt x="1084" y="49"/>
                  </a:lnTo>
                  <a:lnTo>
                    <a:pt x="1148" y="23"/>
                  </a:lnTo>
                  <a:lnTo>
                    <a:pt x="1216" y="6"/>
                  </a:lnTo>
                  <a:lnTo>
                    <a:pt x="12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53">
              <a:extLst>
                <a:ext uri="{FF2B5EF4-FFF2-40B4-BE49-F238E27FC236}">
                  <a16:creationId xmlns:a16="http://schemas.microsoft.com/office/drawing/2014/main" id="{30927791-B3E6-47F7-B156-99D6A1E92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75298" y="-139704"/>
              <a:ext cx="2339973" cy="279401"/>
            </a:xfrm>
            <a:custGeom>
              <a:avLst/>
              <a:gdLst>
                <a:gd name="T0" fmla="*/ 178 w 2949"/>
                <a:gd name="T1" fmla="*/ 0 h 353"/>
                <a:gd name="T2" fmla="*/ 2773 w 2949"/>
                <a:gd name="T3" fmla="*/ 0 h 353"/>
                <a:gd name="T4" fmla="*/ 2813 w 2949"/>
                <a:gd name="T5" fmla="*/ 3 h 353"/>
                <a:gd name="T6" fmla="*/ 2851 w 2949"/>
                <a:gd name="T7" fmla="*/ 17 h 353"/>
                <a:gd name="T8" fmla="*/ 2883 w 2949"/>
                <a:gd name="T9" fmla="*/ 37 h 353"/>
                <a:gd name="T10" fmla="*/ 2911 w 2949"/>
                <a:gd name="T11" fmla="*/ 66 h 353"/>
                <a:gd name="T12" fmla="*/ 2932 w 2949"/>
                <a:gd name="T13" fmla="*/ 98 h 353"/>
                <a:gd name="T14" fmla="*/ 2945 w 2949"/>
                <a:gd name="T15" fmla="*/ 136 h 353"/>
                <a:gd name="T16" fmla="*/ 2949 w 2949"/>
                <a:gd name="T17" fmla="*/ 175 h 353"/>
                <a:gd name="T18" fmla="*/ 2945 w 2949"/>
                <a:gd name="T19" fmla="*/ 217 h 353"/>
                <a:gd name="T20" fmla="*/ 2932 w 2949"/>
                <a:gd name="T21" fmla="*/ 254 h 353"/>
                <a:gd name="T22" fmla="*/ 2911 w 2949"/>
                <a:gd name="T23" fmla="*/ 287 h 353"/>
                <a:gd name="T24" fmla="*/ 2883 w 2949"/>
                <a:gd name="T25" fmla="*/ 315 h 353"/>
                <a:gd name="T26" fmla="*/ 2851 w 2949"/>
                <a:gd name="T27" fmla="*/ 336 h 353"/>
                <a:gd name="T28" fmla="*/ 2813 w 2949"/>
                <a:gd name="T29" fmla="*/ 349 h 353"/>
                <a:gd name="T30" fmla="*/ 2773 w 2949"/>
                <a:gd name="T31" fmla="*/ 353 h 353"/>
                <a:gd name="T32" fmla="*/ 178 w 2949"/>
                <a:gd name="T33" fmla="*/ 353 h 353"/>
                <a:gd name="T34" fmla="*/ 136 w 2949"/>
                <a:gd name="T35" fmla="*/ 349 h 353"/>
                <a:gd name="T36" fmla="*/ 101 w 2949"/>
                <a:gd name="T37" fmla="*/ 336 h 353"/>
                <a:gd name="T38" fmla="*/ 67 w 2949"/>
                <a:gd name="T39" fmla="*/ 315 h 353"/>
                <a:gd name="T40" fmla="*/ 40 w 2949"/>
                <a:gd name="T41" fmla="*/ 287 h 353"/>
                <a:gd name="T42" fmla="*/ 19 w 2949"/>
                <a:gd name="T43" fmla="*/ 254 h 353"/>
                <a:gd name="T44" fmla="*/ 6 w 2949"/>
                <a:gd name="T45" fmla="*/ 217 h 353"/>
                <a:gd name="T46" fmla="*/ 0 w 2949"/>
                <a:gd name="T47" fmla="*/ 175 h 353"/>
                <a:gd name="T48" fmla="*/ 6 w 2949"/>
                <a:gd name="T49" fmla="*/ 136 h 353"/>
                <a:gd name="T50" fmla="*/ 19 w 2949"/>
                <a:gd name="T51" fmla="*/ 98 h 353"/>
                <a:gd name="T52" fmla="*/ 40 w 2949"/>
                <a:gd name="T53" fmla="*/ 66 h 353"/>
                <a:gd name="T54" fmla="*/ 67 w 2949"/>
                <a:gd name="T55" fmla="*/ 37 h 353"/>
                <a:gd name="T56" fmla="*/ 101 w 2949"/>
                <a:gd name="T57" fmla="*/ 17 h 353"/>
                <a:gd name="T58" fmla="*/ 136 w 2949"/>
                <a:gd name="T59" fmla="*/ 3 h 353"/>
                <a:gd name="T60" fmla="*/ 178 w 2949"/>
                <a:gd name="T61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49" h="353">
                  <a:moveTo>
                    <a:pt x="178" y="0"/>
                  </a:moveTo>
                  <a:lnTo>
                    <a:pt x="2773" y="0"/>
                  </a:lnTo>
                  <a:lnTo>
                    <a:pt x="2813" y="3"/>
                  </a:lnTo>
                  <a:lnTo>
                    <a:pt x="2851" y="17"/>
                  </a:lnTo>
                  <a:lnTo>
                    <a:pt x="2883" y="37"/>
                  </a:lnTo>
                  <a:lnTo>
                    <a:pt x="2911" y="66"/>
                  </a:lnTo>
                  <a:lnTo>
                    <a:pt x="2932" y="98"/>
                  </a:lnTo>
                  <a:lnTo>
                    <a:pt x="2945" y="136"/>
                  </a:lnTo>
                  <a:lnTo>
                    <a:pt x="2949" y="175"/>
                  </a:lnTo>
                  <a:lnTo>
                    <a:pt x="2945" y="217"/>
                  </a:lnTo>
                  <a:lnTo>
                    <a:pt x="2932" y="254"/>
                  </a:lnTo>
                  <a:lnTo>
                    <a:pt x="2911" y="287"/>
                  </a:lnTo>
                  <a:lnTo>
                    <a:pt x="2883" y="315"/>
                  </a:lnTo>
                  <a:lnTo>
                    <a:pt x="2851" y="336"/>
                  </a:lnTo>
                  <a:lnTo>
                    <a:pt x="2813" y="349"/>
                  </a:lnTo>
                  <a:lnTo>
                    <a:pt x="2773" y="353"/>
                  </a:lnTo>
                  <a:lnTo>
                    <a:pt x="178" y="353"/>
                  </a:lnTo>
                  <a:lnTo>
                    <a:pt x="136" y="349"/>
                  </a:lnTo>
                  <a:lnTo>
                    <a:pt x="101" y="336"/>
                  </a:lnTo>
                  <a:lnTo>
                    <a:pt x="67" y="315"/>
                  </a:lnTo>
                  <a:lnTo>
                    <a:pt x="40" y="287"/>
                  </a:lnTo>
                  <a:lnTo>
                    <a:pt x="19" y="254"/>
                  </a:lnTo>
                  <a:lnTo>
                    <a:pt x="6" y="217"/>
                  </a:lnTo>
                  <a:lnTo>
                    <a:pt x="0" y="175"/>
                  </a:lnTo>
                  <a:lnTo>
                    <a:pt x="6" y="136"/>
                  </a:lnTo>
                  <a:lnTo>
                    <a:pt x="19" y="98"/>
                  </a:lnTo>
                  <a:lnTo>
                    <a:pt x="40" y="66"/>
                  </a:lnTo>
                  <a:lnTo>
                    <a:pt x="67" y="37"/>
                  </a:lnTo>
                  <a:lnTo>
                    <a:pt x="101" y="17"/>
                  </a:lnTo>
                  <a:lnTo>
                    <a:pt x="136" y="3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54">
              <a:extLst>
                <a:ext uri="{FF2B5EF4-FFF2-40B4-BE49-F238E27FC236}">
                  <a16:creationId xmlns:a16="http://schemas.microsoft.com/office/drawing/2014/main" id="{307ADD8F-F4CC-4FD5-B132-3CA16A386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75298" y="528636"/>
              <a:ext cx="2339973" cy="279401"/>
            </a:xfrm>
            <a:custGeom>
              <a:avLst/>
              <a:gdLst>
                <a:gd name="T0" fmla="*/ 178 w 2949"/>
                <a:gd name="T1" fmla="*/ 0 h 353"/>
                <a:gd name="T2" fmla="*/ 2773 w 2949"/>
                <a:gd name="T3" fmla="*/ 0 h 353"/>
                <a:gd name="T4" fmla="*/ 2813 w 2949"/>
                <a:gd name="T5" fmla="*/ 4 h 353"/>
                <a:gd name="T6" fmla="*/ 2851 w 2949"/>
                <a:gd name="T7" fmla="*/ 17 h 353"/>
                <a:gd name="T8" fmla="*/ 2883 w 2949"/>
                <a:gd name="T9" fmla="*/ 40 h 353"/>
                <a:gd name="T10" fmla="*/ 2911 w 2949"/>
                <a:gd name="T11" fmla="*/ 66 h 353"/>
                <a:gd name="T12" fmla="*/ 2932 w 2949"/>
                <a:gd name="T13" fmla="*/ 99 h 353"/>
                <a:gd name="T14" fmla="*/ 2945 w 2949"/>
                <a:gd name="T15" fmla="*/ 136 h 353"/>
                <a:gd name="T16" fmla="*/ 2949 w 2949"/>
                <a:gd name="T17" fmla="*/ 178 h 353"/>
                <a:gd name="T18" fmla="*/ 2945 w 2949"/>
                <a:gd name="T19" fmla="*/ 217 h 353"/>
                <a:gd name="T20" fmla="*/ 2932 w 2949"/>
                <a:gd name="T21" fmla="*/ 255 h 353"/>
                <a:gd name="T22" fmla="*/ 2911 w 2949"/>
                <a:gd name="T23" fmla="*/ 287 h 353"/>
                <a:gd name="T24" fmla="*/ 2883 w 2949"/>
                <a:gd name="T25" fmla="*/ 316 h 353"/>
                <a:gd name="T26" fmla="*/ 2851 w 2949"/>
                <a:gd name="T27" fmla="*/ 336 h 353"/>
                <a:gd name="T28" fmla="*/ 2813 w 2949"/>
                <a:gd name="T29" fmla="*/ 350 h 353"/>
                <a:gd name="T30" fmla="*/ 2773 w 2949"/>
                <a:gd name="T31" fmla="*/ 353 h 353"/>
                <a:gd name="T32" fmla="*/ 178 w 2949"/>
                <a:gd name="T33" fmla="*/ 353 h 353"/>
                <a:gd name="T34" fmla="*/ 136 w 2949"/>
                <a:gd name="T35" fmla="*/ 350 h 353"/>
                <a:gd name="T36" fmla="*/ 101 w 2949"/>
                <a:gd name="T37" fmla="*/ 336 h 353"/>
                <a:gd name="T38" fmla="*/ 67 w 2949"/>
                <a:gd name="T39" fmla="*/ 316 h 353"/>
                <a:gd name="T40" fmla="*/ 40 w 2949"/>
                <a:gd name="T41" fmla="*/ 287 h 353"/>
                <a:gd name="T42" fmla="*/ 19 w 2949"/>
                <a:gd name="T43" fmla="*/ 255 h 353"/>
                <a:gd name="T44" fmla="*/ 6 w 2949"/>
                <a:gd name="T45" fmla="*/ 217 h 353"/>
                <a:gd name="T46" fmla="*/ 0 w 2949"/>
                <a:gd name="T47" fmla="*/ 178 h 353"/>
                <a:gd name="T48" fmla="*/ 6 w 2949"/>
                <a:gd name="T49" fmla="*/ 136 h 353"/>
                <a:gd name="T50" fmla="*/ 19 w 2949"/>
                <a:gd name="T51" fmla="*/ 99 h 353"/>
                <a:gd name="T52" fmla="*/ 40 w 2949"/>
                <a:gd name="T53" fmla="*/ 66 h 353"/>
                <a:gd name="T54" fmla="*/ 67 w 2949"/>
                <a:gd name="T55" fmla="*/ 40 h 353"/>
                <a:gd name="T56" fmla="*/ 101 w 2949"/>
                <a:gd name="T57" fmla="*/ 17 h 353"/>
                <a:gd name="T58" fmla="*/ 136 w 2949"/>
                <a:gd name="T59" fmla="*/ 4 h 353"/>
                <a:gd name="T60" fmla="*/ 178 w 2949"/>
                <a:gd name="T61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49" h="353">
                  <a:moveTo>
                    <a:pt x="178" y="0"/>
                  </a:moveTo>
                  <a:lnTo>
                    <a:pt x="2773" y="0"/>
                  </a:lnTo>
                  <a:lnTo>
                    <a:pt x="2813" y="4"/>
                  </a:lnTo>
                  <a:lnTo>
                    <a:pt x="2851" y="17"/>
                  </a:lnTo>
                  <a:lnTo>
                    <a:pt x="2883" y="40"/>
                  </a:lnTo>
                  <a:lnTo>
                    <a:pt x="2911" y="66"/>
                  </a:lnTo>
                  <a:lnTo>
                    <a:pt x="2932" y="99"/>
                  </a:lnTo>
                  <a:lnTo>
                    <a:pt x="2945" y="136"/>
                  </a:lnTo>
                  <a:lnTo>
                    <a:pt x="2949" y="178"/>
                  </a:lnTo>
                  <a:lnTo>
                    <a:pt x="2945" y="217"/>
                  </a:lnTo>
                  <a:lnTo>
                    <a:pt x="2932" y="255"/>
                  </a:lnTo>
                  <a:lnTo>
                    <a:pt x="2911" y="287"/>
                  </a:lnTo>
                  <a:lnTo>
                    <a:pt x="2883" y="316"/>
                  </a:lnTo>
                  <a:lnTo>
                    <a:pt x="2851" y="336"/>
                  </a:lnTo>
                  <a:lnTo>
                    <a:pt x="2813" y="350"/>
                  </a:lnTo>
                  <a:lnTo>
                    <a:pt x="2773" y="353"/>
                  </a:lnTo>
                  <a:lnTo>
                    <a:pt x="178" y="353"/>
                  </a:lnTo>
                  <a:lnTo>
                    <a:pt x="136" y="350"/>
                  </a:lnTo>
                  <a:lnTo>
                    <a:pt x="101" y="336"/>
                  </a:lnTo>
                  <a:lnTo>
                    <a:pt x="67" y="316"/>
                  </a:lnTo>
                  <a:lnTo>
                    <a:pt x="40" y="287"/>
                  </a:lnTo>
                  <a:lnTo>
                    <a:pt x="19" y="255"/>
                  </a:lnTo>
                  <a:lnTo>
                    <a:pt x="6" y="217"/>
                  </a:lnTo>
                  <a:lnTo>
                    <a:pt x="0" y="178"/>
                  </a:lnTo>
                  <a:lnTo>
                    <a:pt x="6" y="136"/>
                  </a:lnTo>
                  <a:lnTo>
                    <a:pt x="19" y="99"/>
                  </a:lnTo>
                  <a:lnTo>
                    <a:pt x="40" y="66"/>
                  </a:lnTo>
                  <a:lnTo>
                    <a:pt x="67" y="40"/>
                  </a:lnTo>
                  <a:lnTo>
                    <a:pt x="101" y="17"/>
                  </a:lnTo>
                  <a:lnTo>
                    <a:pt x="136" y="4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55">
              <a:extLst>
                <a:ext uri="{FF2B5EF4-FFF2-40B4-BE49-F238E27FC236}">
                  <a16:creationId xmlns:a16="http://schemas.microsoft.com/office/drawing/2014/main" id="{81F8E3ED-60E0-4988-A135-6EE217C97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75298" y="1196976"/>
              <a:ext cx="2339973" cy="280985"/>
            </a:xfrm>
            <a:custGeom>
              <a:avLst/>
              <a:gdLst>
                <a:gd name="T0" fmla="*/ 178 w 2949"/>
                <a:gd name="T1" fmla="*/ 0 h 355"/>
                <a:gd name="T2" fmla="*/ 2773 w 2949"/>
                <a:gd name="T3" fmla="*/ 0 h 355"/>
                <a:gd name="T4" fmla="*/ 2813 w 2949"/>
                <a:gd name="T5" fmla="*/ 6 h 355"/>
                <a:gd name="T6" fmla="*/ 2851 w 2949"/>
                <a:gd name="T7" fmla="*/ 19 h 355"/>
                <a:gd name="T8" fmla="*/ 2883 w 2949"/>
                <a:gd name="T9" fmla="*/ 40 h 355"/>
                <a:gd name="T10" fmla="*/ 2911 w 2949"/>
                <a:gd name="T11" fmla="*/ 66 h 355"/>
                <a:gd name="T12" fmla="*/ 2932 w 2949"/>
                <a:gd name="T13" fmla="*/ 100 h 355"/>
                <a:gd name="T14" fmla="*/ 2945 w 2949"/>
                <a:gd name="T15" fmla="*/ 136 h 355"/>
                <a:gd name="T16" fmla="*/ 2949 w 2949"/>
                <a:gd name="T17" fmla="*/ 178 h 355"/>
                <a:gd name="T18" fmla="*/ 2945 w 2949"/>
                <a:gd name="T19" fmla="*/ 217 h 355"/>
                <a:gd name="T20" fmla="*/ 2932 w 2949"/>
                <a:gd name="T21" fmla="*/ 255 h 355"/>
                <a:gd name="T22" fmla="*/ 2911 w 2949"/>
                <a:gd name="T23" fmla="*/ 287 h 355"/>
                <a:gd name="T24" fmla="*/ 2883 w 2949"/>
                <a:gd name="T25" fmla="*/ 315 h 355"/>
                <a:gd name="T26" fmla="*/ 2851 w 2949"/>
                <a:gd name="T27" fmla="*/ 336 h 355"/>
                <a:gd name="T28" fmla="*/ 2813 w 2949"/>
                <a:gd name="T29" fmla="*/ 349 h 355"/>
                <a:gd name="T30" fmla="*/ 2773 w 2949"/>
                <a:gd name="T31" fmla="*/ 355 h 355"/>
                <a:gd name="T32" fmla="*/ 178 w 2949"/>
                <a:gd name="T33" fmla="*/ 355 h 355"/>
                <a:gd name="T34" fmla="*/ 136 w 2949"/>
                <a:gd name="T35" fmla="*/ 349 h 355"/>
                <a:gd name="T36" fmla="*/ 101 w 2949"/>
                <a:gd name="T37" fmla="*/ 336 h 355"/>
                <a:gd name="T38" fmla="*/ 67 w 2949"/>
                <a:gd name="T39" fmla="*/ 315 h 355"/>
                <a:gd name="T40" fmla="*/ 40 w 2949"/>
                <a:gd name="T41" fmla="*/ 287 h 355"/>
                <a:gd name="T42" fmla="*/ 19 w 2949"/>
                <a:gd name="T43" fmla="*/ 255 h 355"/>
                <a:gd name="T44" fmla="*/ 6 w 2949"/>
                <a:gd name="T45" fmla="*/ 217 h 355"/>
                <a:gd name="T46" fmla="*/ 0 w 2949"/>
                <a:gd name="T47" fmla="*/ 178 h 355"/>
                <a:gd name="T48" fmla="*/ 6 w 2949"/>
                <a:gd name="T49" fmla="*/ 136 h 355"/>
                <a:gd name="T50" fmla="*/ 19 w 2949"/>
                <a:gd name="T51" fmla="*/ 100 h 355"/>
                <a:gd name="T52" fmla="*/ 40 w 2949"/>
                <a:gd name="T53" fmla="*/ 66 h 355"/>
                <a:gd name="T54" fmla="*/ 67 w 2949"/>
                <a:gd name="T55" fmla="*/ 40 h 355"/>
                <a:gd name="T56" fmla="*/ 101 w 2949"/>
                <a:gd name="T57" fmla="*/ 19 h 355"/>
                <a:gd name="T58" fmla="*/ 136 w 2949"/>
                <a:gd name="T59" fmla="*/ 6 h 355"/>
                <a:gd name="T60" fmla="*/ 178 w 2949"/>
                <a:gd name="T61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49" h="355">
                  <a:moveTo>
                    <a:pt x="178" y="0"/>
                  </a:moveTo>
                  <a:lnTo>
                    <a:pt x="2773" y="0"/>
                  </a:lnTo>
                  <a:lnTo>
                    <a:pt x="2813" y="6"/>
                  </a:lnTo>
                  <a:lnTo>
                    <a:pt x="2851" y="19"/>
                  </a:lnTo>
                  <a:lnTo>
                    <a:pt x="2883" y="40"/>
                  </a:lnTo>
                  <a:lnTo>
                    <a:pt x="2911" y="66"/>
                  </a:lnTo>
                  <a:lnTo>
                    <a:pt x="2932" y="100"/>
                  </a:lnTo>
                  <a:lnTo>
                    <a:pt x="2945" y="136"/>
                  </a:lnTo>
                  <a:lnTo>
                    <a:pt x="2949" y="178"/>
                  </a:lnTo>
                  <a:lnTo>
                    <a:pt x="2945" y="217"/>
                  </a:lnTo>
                  <a:lnTo>
                    <a:pt x="2932" y="255"/>
                  </a:lnTo>
                  <a:lnTo>
                    <a:pt x="2911" y="287"/>
                  </a:lnTo>
                  <a:lnTo>
                    <a:pt x="2883" y="315"/>
                  </a:lnTo>
                  <a:lnTo>
                    <a:pt x="2851" y="336"/>
                  </a:lnTo>
                  <a:lnTo>
                    <a:pt x="2813" y="349"/>
                  </a:lnTo>
                  <a:lnTo>
                    <a:pt x="2773" y="355"/>
                  </a:lnTo>
                  <a:lnTo>
                    <a:pt x="178" y="355"/>
                  </a:lnTo>
                  <a:lnTo>
                    <a:pt x="136" y="349"/>
                  </a:lnTo>
                  <a:lnTo>
                    <a:pt x="101" y="336"/>
                  </a:lnTo>
                  <a:lnTo>
                    <a:pt x="67" y="315"/>
                  </a:lnTo>
                  <a:lnTo>
                    <a:pt x="40" y="287"/>
                  </a:lnTo>
                  <a:lnTo>
                    <a:pt x="19" y="255"/>
                  </a:lnTo>
                  <a:lnTo>
                    <a:pt x="6" y="217"/>
                  </a:lnTo>
                  <a:lnTo>
                    <a:pt x="0" y="178"/>
                  </a:lnTo>
                  <a:lnTo>
                    <a:pt x="6" y="136"/>
                  </a:lnTo>
                  <a:lnTo>
                    <a:pt x="19" y="100"/>
                  </a:lnTo>
                  <a:lnTo>
                    <a:pt x="40" y="66"/>
                  </a:lnTo>
                  <a:lnTo>
                    <a:pt x="67" y="40"/>
                  </a:lnTo>
                  <a:lnTo>
                    <a:pt x="101" y="19"/>
                  </a:lnTo>
                  <a:lnTo>
                    <a:pt x="136" y="6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56">
              <a:extLst>
                <a:ext uri="{FF2B5EF4-FFF2-40B4-BE49-F238E27FC236}">
                  <a16:creationId xmlns:a16="http://schemas.microsoft.com/office/drawing/2014/main" id="{97CEE5AA-8D9F-4BDB-89CA-51A03B742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75298" y="1863722"/>
              <a:ext cx="2339973" cy="282579"/>
            </a:xfrm>
            <a:custGeom>
              <a:avLst/>
              <a:gdLst>
                <a:gd name="T0" fmla="*/ 178 w 2949"/>
                <a:gd name="T1" fmla="*/ 0 h 355"/>
                <a:gd name="T2" fmla="*/ 2773 w 2949"/>
                <a:gd name="T3" fmla="*/ 0 h 355"/>
                <a:gd name="T4" fmla="*/ 2813 w 2949"/>
                <a:gd name="T5" fmla="*/ 6 h 355"/>
                <a:gd name="T6" fmla="*/ 2851 w 2949"/>
                <a:gd name="T7" fmla="*/ 19 h 355"/>
                <a:gd name="T8" fmla="*/ 2883 w 2949"/>
                <a:gd name="T9" fmla="*/ 40 h 355"/>
                <a:gd name="T10" fmla="*/ 2911 w 2949"/>
                <a:gd name="T11" fmla="*/ 66 h 355"/>
                <a:gd name="T12" fmla="*/ 2932 w 2949"/>
                <a:gd name="T13" fmla="*/ 100 h 355"/>
                <a:gd name="T14" fmla="*/ 2945 w 2949"/>
                <a:gd name="T15" fmla="*/ 138 h 355"/>
                <a:gd name="T16" fmla="*/ 2949 w 2949"/>
                <a:gd name="T17" fmla="*/ 177 h 355"/>
                <a:gd name="T18" fmla="*/ 2945 w 2949"/>
                <a:gd name="T19" fmla="*/ 219 h 355"/>
                <a:gd name="T20" fmla="*/ 2932 w 2949"/>
                <a:gd name="T21" fmla="*/ 255 h 355"/>
                <a:gd name="T22" fmla="*/ 2911 w 2949"/>
                <a:gd name="T23" fmla="*/ 289 h 355"/>
                <a:gd name="T24" fmla="*/ 2883 w 2949"/>
                <a:gd name="T25" fmla="*/ 315 h 355"/>
                <a:gd name="T26" fmla="*/ 2851 w 2949"/>
                <a:gd name="T27" fmla="*/ 336 h 355"/>
                <a:gd name="T28" fmla="*/ 2813 w 2949"/>
                <a:gd name="T29" fmla="*/ 349 h 355"/>
                <a:gd name="T30" fmla="*/ 2773 w 2949"/>
                <a:gd name="T31" fmla="*/ 355 h 355"/>
                <a:gd name="T32" fmla="*/ 178 w 2949"/>
                <a:gd name="T33" fmla="*/ 355 h 355"/>
                <a:gd name="T34" fmla="*/ 136 w 2949"/>
                <a:gd name="T35" fmla="*/ 349 h 355"/>
                <a:gd name="T36" fmla="*/ 101 w 2949"/>
                <a:gd name="T37" fmla="*/ 336 h 355"/>
                <a:gd name="T38" fmla="*/ 67 w 2949"/>
                <a:gd name="T39" fmla="*/ 315 h 355"/>
                <a:gd name="T40" fmla="*/ 40 w 2949"/>
                <a:gd name="T41" fmla="*/ 289 h 355"/>
                <a:gd name="T42" fmla="*/ 19 w 2949"/>
                <a:gd name="T43" fmla="*/ 255 h 355"/>
                <a:gd name="T44" fmla="*/ 6 w 2949"/>
                <a:gd name="T45" fmla="*/ 219 h 355"/>
                <a:gd name="T46" fmla="*/ 0 w 2949"/>
                <a:gd name="T47" fmla="*/ 177 h 355"/>
                <a:gd name="T48" fmla="*/ 6 w 2949"/>
                <a:gd name="T49" fmla="*/ 138 h 355"/>
                <a:gd name="T50" fmla="*/ 19 w 2949"/>
                <a:gd name="T51" fmla="*/ 100 h 355"/>
                <a:gd name="T52" fmla="*/ 40 w 2949"/>
                <a:gd name="T53" fmla="*/ 66 h 355"/>
                <a:gd name="T54" fmla="*/ 67 w 2949"/>
                <a:gd name="T55" fmla="*/ 40 h 355"/>
                <a:gd name="T56" fmla="*/ 101 w 2949"/>
                <a:gd name="T57" fmla="*/ 19 h 355"/>
                <a:gd name="T58" fmla="*/ 136 w 2949"/>
                <a:gd name="T59" fmla="*/ 6 h 355"/>
                <a:gd name="T60" fmla="*/ 178 w 2949"/>
                <a:gd name="T61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49" h="355">
                  <a:moveTo>
                    <a:pt x="178" y="0"/>
                  </a:moveTo>
                  <a:lnTo>
                    <a:pt x="2773" y="0"/>
                  </a:lnTo>
                  <a:lnTo>
                    <a:pt x="2813" y="6"/>
                  </a:lnTo>
                  <a:lnTo>
                    <a:pt x="2851" y="19"/>
                  </a:lnTo>
                  <a:lnTo>
                    <a:pt x="2883" y="40"/>
                  </a:lnTo>
                  <a:lnTo>
                    <a:pt x="2911" y="66"/>
                  </a:lnTo>
                  <a:lnTo>
                    <a:pt x="2932" y="100"/>
                  </a:lnTo>
                  <a:lnTo>
                    <a:pt x="2945" y="138"/>
                  </a:lnTo>
                  <a:lnTo>
                    <a:pt x="2949" y="177"/>
                  </a:lnTo>
                  <a:lnTo>
                    <a:pt x="2945" y="219"/>
                  </a:lnTo>
                  <a:lnTo>
                    <a:pt x="2932" y="255"/>
                  </a:lnTo>
                  <a:lnTo>
                    <a:pt x="2911" y="289"/>
                  </a:lnTo>
                  <a:lnTo>
                    <a:pt x="2883" y="315"/>
                  </a:lnTo>
                  <a:lnTo>
                    <a:pt x="2851" y="336"/>
                  </a:lnTo>
                  <a:lnTo>
                    <a:pt x="2813" y="349"/>
                  </a:lnTo>
                  <a:lnTo>
                    <a:pt x="2773" y="355"/>
                  </a:lnTo>
                  <a:lnTo>
                    <a:pt x="178" y="355"/>
                  </a:lnTo>
                  <a:lnTo>
                    <a:pt x="136" y="349"/>
                  </a:lnTo>
                  <a:lnTo>
                    <a:pt x="101" y="336"/>
                  </a:lnTo>
                  <a:lnTo>
                    <a:pt x="67" y="315"/>
                  </a:lnTo>
                  <a:lnTo>
                    <a:pt x="40" y="289"/>
                  </a:lnTo>
                  <a:lnTo>
                    <a:pt x="19" y="255"/>
                  </a:lnTo>
                  <a:lnTo>
                    <a:pt x="6" y="219"/>
                  </a:lnTo>
                  <a:lnTo>
                    <a:pt x="0" y="177"/>
                  </a:lnTo>
                  <a:lnTo>
                    <a:pt x="6" y="138"/>
                  </a:lnTo>
                  <a:lnTo>
                    <a:pt x="19" y="100"/>
                  </a:lnTo>
                  <a:lnTo>
                    <a:pt x="40" y="66"/>
                  </a:lnTo>
                  <a:lnTo>
                    <a:pt x="67" y="40"/>
                  </a:lnTo>
                  <a:lnTo>
                    <a:pt x="101" y="19"/>
                  </a:lnTo>
                  <a:lnTo>
                    <a:pt x="136" y="6"/>
                  </a:lnTo>
                  <a:lnTo>
                    <a:pt x="1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B392E89D-C810-43A7-84E3-E9DA2E912B2F}"/>
              </a:ext>
            </a:extLst>
          </p:cNvPr>
          <p:cNvSpPr/>
          <p:nvPr/>
        </p:nvSpPr>
        <p:spPr>
          <a:xfrm>
            <a:off x="4575259" y="1293544"/>
            <a:ext cx="2041330" cy="522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ртал 2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1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DAB974AD-4AD7-401C-939B-AB4FDEFDDE17}"/>
              </a:ext>
            </a:extLst>
          </p:cNvPr>
          <p:cNvSpPr/>
          <p:nvPr/>
        </p:nvSpPr>
        <p:spPr>
          <a:xfrm>
            <a:off x="6748763" y="1291447"/>
            <a:ext cx="2580001" cy="536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2-24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есяца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79CF4432-CB74-4D9E-BDC1-FBF425048039}"/>
              </a:ext>
            </a:extLst>
          </p:cNvPr>
          <p:cNvSpPr/>
          <p:nvPr/>
        </p:nvSpPr>
        <p:spPr>
          <a:xfrm>
            <a:off x="9460938" y="1291447"/>
            <a:ext cx="2356494" cy="5360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ртал 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1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вартал 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2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г.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67580494-4FC8-4C38-8D09-C398187E0223}"/>
              </a:ext>
            </a:extLst>
          </p:cNvPr>
          <p:cNvSpPr/>
          <p:nvPr/>
        </p:nvSpPr>
        <p:spPr>
          <a:xfrm>
            <a:off x="2963452" y="4218025"/>
            <a:ext cx="143598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ерите приоритетные мероприятия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ллективно определенные в СКК</a:t>
            </a:r>
          </a:p>
        </p:txBody>
      </p:sp>
      <p:pic>
        <p:nvPicPr>
          <p:cNvPr id="235" name="Graphic 234" descr="Box">
            <a:extLst>
              <a:ext uri="{FF2B5EF4-FFF2-40B4-BE49-F238E27FC236}">
                <a16:creationId xmlns:a16="http://schemas.microsoft.com/office/drawing/2014/main" id="{A947F834-B034-4A52-8DD4-B754434F7E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28844" y="2871760"/>
            <a:ext cx="826702" cy="826702"/>
          </a:xfrm>
          <a:prstGeom prst="rect">
            <a:avLst/>
          </a:prstGeom>
        </p:spPr>
      </p:pic>
      <p:sp>
        <p:nvSpPr>
          <p:cNvPr id="243" name="Rectangle 242">
            <a:extLst>
              <a:ext uri="{FF2B5EF4-FFF2-40B4-BE49-F238E27FC236}">
                <a16:creationId xmlns:a16="http://schemas.microsoft.com/office/drawing/2014/main" id="{71064424-B331-4032-B893-9A37F40C5D4E}"/>
              </a:ext>
            </a:extLst>
          </p:cNvPr>
          <p:cNvSpPr/>
          <p:nvPr/>
        </p:nvSpPr>
        <p:spPr>
          <a:xfrm>
            <a:off x="5302567" y="2936050"/>
            <a:ext cx="1519045" cy="2349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ите мероприятия в координации 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страновой командой, сектором по работе с СКК, внешними экспертами (где применимо) и партнерами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F218BFAA-DF9A-45B3-B374-DCA49E99EA5A}"/>
              </a:ext>
            </a:extLst>
          </p:cNvPr>
          <p:cNvSpPr/>
          <p:nvPr/>
        </p:nvSpPr>
        <p:spPr>
          <a:xfrm>
            <a:off x="7064780" y="3020305"/>
            <a:ext cx="180071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400"/>
              </a:lnSpc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птируйте и примите подход к Развитию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снованный на страновом контексте, совместно со страновой командой Глобального фонда, сектором по работе с СКК и партнерами</a:t>
            </a:r>
          </a:p>
        </p:txBody>
      </p:sp>
      <p:pic>
        <p:nvPicPr>
          <p:cNvPr id="284" name="Graphic 283" descr="Customer review RTL">
            <a:extLst>
              <a:ext uri="{FF2B5EF4-FFF2-40B4-BE49-F238E27FC236}">
                <a16:creationId xmlns:a16="http://schemas.microsoft.com/office/drawing/2014/main" id="{D07EF3B9-FC6F-499E-BAD6-052BD7F786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46394" y="2304577"/>
            <a:ext cx="676692" cy="676692"/>
          </a:xfrm>
          <a:prstGeom prst="rect">
            <a:avLst/>
          </a:prstGeom>
        </p:spPr>
      </p:pic>
      <p:pic>
        <p:nvPicPr>
          <p:cNvPr id="287" name="Graphic 286" descr="Checklist RTL">
            <a:extLst>
              <a:ext uri="{FF2B5EF4-FFF2-40B4-BE49-F238E27FC236}">
                <a16:creationId xmlns:a16="http://schemas.microsoft.com/office/drawing/2014/main" id="{53901BA7-34DC-4F60-BFAB-92DB7F3026E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06196" y="2237900"/>
            <a:ext cx="695412" cy="695412"/>
          </a:xfrm>
          <a:prstGeom prst="rect">
            <a:avLst/>
          </a:prstGeom>
        </p:spPr>
      </p:pic>
      <p:sp>
        <p:nvSpPr>
          <p:cNvPr id="294" name="Rectangle 293">
            <a:extLst>
              <a:ext uri="{FF2B5EF4-FFF2-40B4-BE49-F238E27FC236}">
                <a16:creationId xmlns:a16="http://schemas.microsoft.com/office/drawing/2014/main" id="{EAE80BC3-4681-4A1E-B1C9-2B9C4251BE07}"/>
              </a:ext>
            </a:extLst>
          </p:cNvPr>
          <p:cNvSpPr/>
          <p:nvPr/>
        </p:nvSpPr>
        <p:spPr>
          <a:xfrm>
            <a:off x="9785929" y="2317762"/>
            <a:ext cx="1908204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400"/>
              </a:lnSpc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аботайте второй пороговый уровень 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тношении приоритетных видов деятельности и конечных результатов</a:t>
            </a:r>
          </a:p>
        </p:txBody>
      </p:sp>
      <p:pic>
        <p:nvPicPr>
          <p:cNvPr id="295" name="Graphic 294" descr="Meeting">
            <a:extLst>
              <a:ext uri="{FF2B5EF4-FFF2-40B4-BE49-F238E27FC236}">
                <a16:creationId xmlns:a16="http://schemas.microsoft.com/office/drawing/2014/main" id="{C23976F9-5198-49C1-9612-2E6DA27672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70839" y="4087685"/>
            <a:ext cx="676692" cy="676692"/>
          </a:xfrm>
          <a:prstGeom prst="rect">
            <a:avLst/>
          </a:prstGeom>
        </p:spPr>
      </p:pic>
      <p:sp>
        <p:nvSpPr>
          <p:cNvPr id="296" name="Rectangle 295">
            <a:extLst>
              <a:ext uri="{FF2B5EF4-FFF2-40B4-BE49-F238E27FC236}">
                <a16:creationId xmlns:a16="http://schemas.microsoft.com/office/drawing/2014/main" id="{626E37A6-C35A-4532-B2CD-9BD0E2E52AD0}"/>
              </a:ext>
            </a:extLst>
          </p:cNvPr>
          <p:cNvSpPr/>
          <p:nvPr/>
        </p:nvSpPr>
        <p:spPr>
          <a:xfrm>
            <a:off x="9367272" y="4608815"/>
            <a:ext cx="245015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400"/>
              </a:lnSpc>
              <a:defRPr/>
            </a:pPr>
            <a:r>
              <a:rPr lang="ru-RU" sz="2000" b="1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ите стабильное состояние </a:t>
            </a:r>
            <a:r>
              <a:rPr lang="ru-RU" sz="2000" baseline="-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рименением принципов развития и мероприятий, включенных в модель обычного порядка ведения дел, и обновленного подхода к показателям эффективности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CC2C77-676C-4129-8736-CF4E336FB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429C8-3C94-4618-8712-4F46E0044B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18A071-A161-4CBA-8185-A9080A7802D6}"/>
              </a:ext>
            </a:extLst>
          </p:cNvPr>
          <p:cNvCxnSpPr/>
          <p:nvPr/>
        </p:nvCxnSpPr>
        <p:spPr>
          <a:xfrm>
            <a:off x="1432682" y="4730507"/>
            <a:ext cx="0" cy="12666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9A5541-E598-42E6-8CAF-FF8F0CF7961B}"/>
              </a:ext>
            </a:extLst>
          </p:cNvPr>
          <p:cNvCxnSpPr/>
          <p:nvPr/>
        </p:nvCxnSpPr>
        <p:spPr>
          <a:xfrm>
            <a:off x="1432682" y="5988737"/>
            <a:ext cx="92447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D419E2-CB07-4F64-96ED-291E1739DB3B}"/>
              </a:ext>
            </a:extLst>
          </p:cNvPr>
          <p:cNvCxnSpPr/>
          <p:nvPr/>
        </p:nvCxnSpPr>
        <p:spPr>
          <a:xfrm flipV="1">
            <a:off x="2357153" y="2301197"/>
            <a:ext cx="0" cy="36959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5AF6E6A-ACA9-49B5-8290-F385E38B40A7}"/>
              </a:ext>
            </a:extLst>
          </p:cNvPr>
          <p:cNvCxnSpPr/>
          <p:nvPr/>
        </p:nvCxnSpPr>
        <p:spPr>
          <a:xfrm>
            <a:off x="2357153" y="2301197"/>
            <a:ext cx="1372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45CE5DF-801C-462D-BB72-CA403F1A4F2A}"/>
              </a:ext>
            </a:extLst>
          </p:cNvPr>
          <p:cNvCxnSpPr>
            <a:cxnSpLocks/>
          </p:cNvCxnSpPr>
          <p:nvPr/>
        </p:nvCxnSpPr>
        <p:spPr>
          <a:xfrm>
            <a:off x="3957489" y="3612004"/>
            <a:ext cx="0" cy="685710"/>
          </a:xfrm>
          <a:prstGeom prst="line">
            <a:avLst/>
          </a:prstGeom>
          <a:ln>
            <a:prstDash val="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B1E6629-07D9-4052-9413-0014BCA4CEAD}"/>
              </a:ext>
            </a:extLst>
          </p:cNvPr>
          <p:cNvCxnSpPr>
            <a:cxnSpLocks/>
          </p:cNvCxnSpPr>
          <p:nvPr/>
        </p:nvCxnSpPr>
        <p:spPr>
          <a:xfrm flipH="1">
            <a:off x="3384670" y="5562945"/>
            <a:ext cx="6611" cy="4341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5E7D49-4476-459C-ADE9-6382FEE99B07}"/>
              </a:ext>
            </a:extLst>
          </p:cNvPr>
          <p:cNvCxnSpPr>
            <a:cxnSpLocks/>
          </p:cNvCxnSpPr>
          <p:nvPr/>
        </p:nvCxnSpPr>
        <p:spPr>
          <a:xfrm>
            <a:off x="3391281" y="5997126"/>
            <a:ext cx="1132416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BFD7029-A614-4050-8F1C-CE08D68D3DF2}"/>
              </a:ext>
            </a:extLst>
          </p:cNvPr>
          <p:cNvCxnSpPr/>
          <p:nvPr/>
        </p:nvCxnSpPr>
        <p:spPr>
          <a:xfrm flipV="1">
            <a:off x="4523697" y="2416098"/>
            <a:ext cx="0" cy="35726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D556E914-7120-4F11-ACB5-58F1496EA796}"/>
              </a:ext>
            </a:extLst>
          </p:cNvPr>
          <p:cNvCxnSpPr>
            <a:cxnSpLocks/>
          </p:cNvCxnSpPr>
          <p:nvPr/>
        </p:nvCxnSpPr>
        <p:spPr>
          <a:xfrm>
            <a:off x="4523697" y="2416097"/>
            <a:ext cx="950963" cy="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C1B6C119-BB6A-434E-A2FA-5CFD36C371FB}"/>
              </a:ext>
            </a:extLst>
          </p:cNvPr>
          <p:cNvCxnSpPr>
            <a:cxnSpLocks/>
          </p:cNvCxnSpPr>
          <p:nvPr/>
        </p:nvCxnSpPr>
        <p:spPr>
          <a:xfrm>
            <a:off x="5474660" y="2416098"/>
            <a:ext cx="0" cy="44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ECE89D7A-93B1-4FC9-B1E7-63852DAB8051}"/>
              </a:ext>
            </a:extLst>
          </p:cNvPr>
          <p:cNvCxnSpPr>
            <a:cxnSpLocks/>
          </p:cNvCxnSpPr>
          <p:nvPr/>
        </p:nvCxnSpPr>
        <p:spPr>
          <a:xfrm>
            <a:off x="5551120" y="5363816"/>
            <a:ext cx="0" cy="61992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185E3D95-EACC-4D8F-BBED-03A557E4B9C2}"/>
              </a:ext>
            </a:extLst>
          </p:cNvPr>
          <p:cNvCxnSpPr/>
          <p:nvPr/>
        </p:nvCxnSpPr>
        <p:spPr>
          <a:xfrm>
            <a:off x="5551120" y="5983740"/>
            <a:ext cx="92447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4B25F167-8A60-4A90-8F08-D92B641A6A2E}"/>
              </a:ext>
            </a:extLst>
          </p:cNvPr>
          <p:cNvCxnSpPr>
            <a:cxnSpLocks/>
          </p:cNvCxnSpPr>
          <p:nvPr/>
        </p:nvCxnSpPr>
        <p:spPr>
          <a:xfrm>
            <a:off x="7901745" y="5446610"/>
            <a:ext cx="0" cy="55890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46127A0-A53B-4105-921D-C9595804D7E4}"/>
              </a:ext>
            </a:extLst>
          </p:cNvPr>
          <p:cNvCxnSpPr/>
          <p:nvPr/>
        </p:nvCxnSpPr>
        <p:spPr>
          <a:xfrm>
            <a:off x="7901745" y="5997126"/>
            <a:ext cx="92447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3501AC5C-EDC3-40B7-AA24-90CA35D353B0}"/>
              </a:ext>
            </a:extLst>
          </p:cNvPr>
          <p:cNvCxnSpPr/>
          <p:nvPr/>
        </p:nvCxnSpPr>
        <p:spPr>
          <a:xfrm flipV="1">
            <a:off x="8826216" y="2416097"/>
            <a:ext cx="0" cy="357263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0C32B27-92E2-4762-8F48-FB018079F1E5}"/>
              </a:ext>
            </a:extLst>
          </p:cNvPr>
          <p:cNvCxnSpPr>
            <a:cxnSpLocks/>
          </p:cNvCxnSpPr>
          <p:nvPr/>
        </p:nvCxnSpPr>
        <p:spPr>
          <a:xfrm>
            <a:off x="8812568" y="2395653"/>
            <a:ext cx="44862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1A7CF5F1-3E0B-4AB8-9ABB-F466D14EBC95}"/>
              </a:ext>
            </a:extLst>
          </p:cNvPr>
          <p:cNvCxnSpPr>
            <a:cxnSpLocks/>
          </p:cNvCxnSpPr>
          <p:nvPr/>
        </p:nvCxnSpPr>
        <p:spPr>
          <a:xfrm>
            <a:off x="10237303" y="3846386"/>
            <a:ext cx="0" cy="63570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0" name="TextBox 239">
            <a:extLst>
              <a:ext uri="{FF2B5EF4-FFF2-40B4-BE49-F238E27FC236}">
                <a16:creationId xmlns:a16="http://schemas.microsoft.com/office/drawing/2014/main" id="{A0005812-E86D-477B-81BC-C57CC9FC132B}"/>
              </a:ext>
            </a:extLst>
          </p:cNvPr>
          <p:cNvSpPr txBox="1"/>
          <p:nvPr/>
        </p:nvSpPr>
        <p:spPr>
          <a:xfrm>
            <a:off x="2481414" y="3788573"/>
            <a:ext cx="199149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dirty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временные шаги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77D976-B22B-41F8-9286-5E066C9746E8}"/>
              </a:ext>
            </a:extLst>
          </p:cNvPr>
          <p:cNvSpPr txBox="1"/>
          <p:nvPr/>
        </p:nvSpPr>
        <p:spPr>
          <a:xfrm rot="16200000">
            <a:off x="-1639394" y="3170548"/>
            <a:ext cx="3932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СКК могут ожидать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Arrow: Chevron 58">
            <a:extLst>
              <a:ext uri="{FF2B5EF4-FFF2-40B4-BE49-F238E27FC236}">
                <a16:creationId xmlns:a16="http://schemas.microsoft.com/office/drawing/2014/main" id="{8FAFA7E7-74D5-4EC2-BCFD-9A0F49B283E5}"/>
              </a:ext>
            </a:extLst>
          </p:cNvPr>
          <p:cNvSpPr/>
          <p:nvPr/>
        </p:nvSpPr>
        <p:spPr>
          <a:xfrm>
            <a:off x="6633526" y="1815652"/>
            <a:ext cx="245379" cy="4189863"/>
          </a:xfrm>
          <a:prstGeom prst="chevron">
            <a:avLst>
              <a:gd name="adj" fmla="val 93750"/>
            </a:avLst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3BA98553-1267-4C58-BDEA-DD089EDCC9BD}"/>
              </a:ext>
            </a:extLst>
          </p:cNvPr>
          <p:cNvSpPr/>
          <p:nvPr/>
        </p:nvSpPr>
        <p:spPr>
          <a:xfrm>
            <a:off x="6717995" y="1793877"/>
            <a:ext cx="245379" cy="4189863"/>
          </a:xfrm>
          <a:prstGeom prst="chevron">
            <a:avLst>
              <a:gd name="adj" fmla="val 93750"/>
            </a:avLst>
          </a:prstGeom>
          <a:noFill/>
          <a:ln w="31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D61052-0420-4F2F-8AC0-A29D66DD2A1D}"/>
              </a:ext>
            </a:extLst>
          </p:cNvPr>
          <p:cNvSpPr txBox="1"/>
          <p:nvPr/>
        </p:nvSpPr>
        <p:spPr>
          <a:xfrm>
            <a:off x="3140369" y="888917"/>
            <a:ext cx="2580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Мы находимся здесь</a:t>
            </a:r>
          </a:p>
        </p:txBody>
      </p:sp>
    </p:spTree>
    <p:extLst>
      <p:ext uri="{BB962C8B-B14F-4D97-AF65-F5344CB8AC3E}">
        <p14:creationId xmlns:p14="http://schemas.microsoft.com/office/powerpoint/2010/main" val="9501609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43C6D6-65A5-4844-8C4D-982234429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2429C8-3C94-4618-8712-4F46E0044B7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31B58E3-F6B8-4F32-B2AD-03F2239DCD54}"/>
              </a:ext>
            </a:extLst>
          </p:cNvPr>
          <p:cNvCxnSpPr/>
          <p:nvPr/>
        </p:nvCxnSpPr>
        <p:spPr>
          <a:xfrm>
            <a:off x="906011" y="1619075"/>
            <a:ext cx="8883941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2EC9D53-B393-47B2-B5B8-106F9801E9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8497" y="1882486"/>
            <a:ext cx="10515600" cy="435133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к вопросу о Развитии СКК</a:t>
            </a: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Резюме пороговых результатов</a:t>
            </a:r>
            <a:endParaRPr lang="en-US" sz="2400" b="1" dirty="0">
              <a:latin typeface="Arial" panose="020B0604020202020204" pitchFamily="34" charset="0"/>
              <a:ea typeface="+mj-lt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ие действия</a:t>
            </a:r>
            <a:r>
              <a:rPr lang="en-US" sz="24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6844FE8-D722-4DF6-AED4-D8B612FA7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0" y="388534"/>
            <a:ext cx="11191880" cy="1325563"/>
          </a:xfrm>
        </p:spPr>
        <p:txBody>
          <a:bodyPr>
            <a:normAutofit/>
          </a:bodyPr>
          <a:lstStyle/>
          <a:p>
            <a:r>
              <a:rPr lang="ru-RU" sz="4000" dirty="0"/>
              <a:t>План</a:t>
            </a:r>
            <a:endParaRPr lang="en-US" sz="4000" b="1" u="sng" dirty="0"/>
          </a:p>
        </p:txBody>
      </p:sp>
    </p:spTree>
    <p:extLst>
      <p:ext uri="{BB962C8B-B14F-4D97-AF65-F5344CB8AC3E}">
        <p14:creationId xmlns:p14="http://schemas.microsoft.com/office/powerpoint/2010/main" val="37457060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EAE69-D34A-4049-9278-487B3A293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461" y="143249"/>
            <a:ext cx="11715077" cy="1325563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</a:pPr>
            <a:r>
              <a:rPr lang="ru-RU" sz="3000" dirty="0">
                <a:latin typeface="Arial" panose="020B0604020202020204" pitchFamily="34" charset="0"/>
                <a:cs typeface="Arial" panose="020B0604020202020204" pitchFamily="34" charset="0"/>
              </a:rPr>
              <a:t>Пороговые результаты дают </a:t>
            </a:r>
            <a:r>
              <a:rPr lang="ru-RU" sz="3000" b="1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определить приоритетные сферы </a:t>
            </a:r>
            <a:r>
              <a:rPr lang="ru-RU" sz="3000" dirty="0">
                <a:latin typeface="Arial" panose="020B0604020202020204" pitchFamily="34" charset="0"/>
                <a:cs typeface="Arial" panose="020B0604020202020204" pitchFamily="34" charset="0"/>
              </a:rPr>
              <a:t>в целях </a:t>
            </a:r>
            <a:r>
              <a:rPr lang="ru-RU" sz="30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я эффективности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564454-301E-4FF4-B2D1-180FAF4847D9}"/>
              </a:ext>
            </a:extLst>
          </p:cNvPr>
          <p:cNvGrpSpPr/>
          <p:nvPr/>
        </p:nvGrpSpPr>
        <p:grpSpPr>
          <a:xfrm>
            <a:off x="1678193" y="4698789"/>
            <a:ext cx="9531274" cy="2050520"/>
            <a:chOff x="43669" y="5402505"/>
            <a:chExt cx="9320758" cy="205052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ADD7A88-B8EB-4A79-98B6-1912463243EB}"/>
                </a:ext>
              </a:extLst>
            </p:cNvPr>
            <p:cNvSpPr/>
            <p:nvPr/>
          </p:nvSpPr>
          <p:spPr>
            <a:xfrm>
              <a:off x="43669" y="6306536"/>
              <a:ext cx="2718668" cy="8118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сультант и СКК</a:t>
              </a:r>
            </a:p>
            <a:p>
              <a:pPr algn="ctr"/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агают приоритетные области и мероприятия</a:t>
              </a:r>
              <a:endPara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482167B4-E6D2-4063-AF53-12225AFEAB4B}"/>
                </a:ext>
              </a:extLst>
            </p:cNvPr>
            <p:cNvCxnSpPr>
              <a:cxnSpLocks/>
            </p:cNvCxnSpPr>
            <p:nvPr/>
          </p:nvCxnSpPr>
          <p:spPr>
            <a:xfrm>
              <a:off x="2421971" y="5898236"/>
              <a:ext cx="166785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3CA739A-BC4C-4DA2-9A19-F44BC720C201}"/>
                </a:ext>
              </a:extLst>
            </p:cNvPr>
            <p:cNvGrpSpPr/>
            <p:nvPr/>
          </p:nvGrpSpPr>
          <p:grpSpPr>
            <a:xfrm>
              <a:off x="1272830" y="5558083"/>
              <a:ext cx="427159" cy="517659"/>
              <a:chOff x="-6784975" y="-1011238"/>
              <a:chExt cx="4090988" cy="4921251"/>
            </a:xfrm>
            <a:solidFill>
              <a:schemeClr val="accent6">
                <a:lumMod val="50000"/>
              </a:schemeClr>
            </a:solidFill>
          </p:grpSpPr>
          <p:sp>
            <p:nvSpPr>
              <p:cNvPr id="14" name="Freeform 52">
                <a:extLst>
                  <a:ext uri="{FF2B5EF4-FFF2-40B4-BE49-F238E27FC236}">
                    <a16:creationId xmlns:a16="http://schemas.microsoft.com/office/drawing/2014/main" id="{42EE2552-088C-4DDF-9FE0-62E9A25969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6784975" y="-1011238"/>
                <a:ext cx="4090988" cy="4921251"/>
              </a:xfrm>
              <a:custGeom>
                <a:avLst/>
                <a:gdLst>
                  <a:gd name="T0" fmla="*/ 414 w 5155"/>
                  <a:gd name="T1" fmla="*/ 1082 h 6202"/>
                  <a:gd name="T2" fmla="*/ 370 w 5155"/>
                  <a:gd name="T3" fmla="*/ 1114 h 6202"/>
                  <a:gd name="T4" fmla="*/ 353 w 5155"/>
                  <a:gd name="T5" fmla="*/ 1167 h 6202"/>
                  <a:gd name="T6" fmla="*/ 359 w 5155"/>
                  <a:gd name="T7" fmla="*/ 5787 h 6202"/>
                  <a:gd name="T8" fmla="*/ 389 w 5155"/>
                  <a:gd name="T9" fmla="*/ 5830 h 6202"/>
                  <a:gd name="T10" fmla="*/ 442 w 5155"/>
                  <a:gd name="T11" fmla="*/ 5847 h 6202"/>
                  <a:gd name="T12" fmla="*/ 3896 w 5155"/>
                  <a:gd name="T13" fmla="*/ 5843 h 6202"/>
                  <a:gd name="T14" fmla="*/ 3940 w 5155"/>
                  <a:gd name="T15" fmla="*/ 5811 h 6202"/>
                  <a:gd name="T16" fmla="*/ 3957 w 5155"/>
                  <a:gd name="T17" fmla="*/ 5758 h 6202"/>
                  <a:gd name="T18" fmla="*/ 1288 w 5155"/>
                  <a:gd name="T19" fmla="*/ 5475 h 6202"/>
                  <a:gd name="T20" fmla="*/ 1148 w 5155"/>
                  <a:gd name="T21" fmla="*/ 5455 h 6202"/>
                  <a:gd name="T22" fmla="*/ 1025 w 5155"/>
                  <a:gd name="T23" fmla="*/ 5390 h 6202"/>
                  <a:gd name="T24" fmla="*/ 931 w 5155"/>
                  <a:gd name="T25" fmla="*/ 5294 h 6202"/>
                  <a:gd name="T26" fmla="*/ 867 w 5155"/>
                  <a:gd name="T27" fmla="*/ 5173 h 6202"/>
                  <a:gd name="T28" fmla="*/ 844 w 5155"/>
                  <a:gd name="T29" fmla="*/ 5034 h 6202"/>
                  <a:gd name="T30" fmla="*/ 442 w 5155"/>
                  <a:gd name="T31" fmla="*/ 1078 h 6202"/>
                  <a:gd name="T32" fmla="*/ 1259 w 5155"/>
                  <a:gd name="T33" fmla="*/ 357 h 6202"/>
                  <a:gd name="T34" fmla="*/ 1216 w 5155"/>
                  <a:gd name="T35" fmla="*/ 389 h 6202"/>
                  <a:gd name="T36" fmla="*/ 1199 w 5155"/>
                  <a:gd name="T37" fmla="*/ 442 h 6202"/>
                  <a:gd name="T38" fmla="*/ 1203 w 5155"/>
                  <a:gd name="T39" fmla="*/ 5062 h 6202"/>
                  <a:gd name="T40" fmla="*/ 1235 w 5155"/>
                  <a:gd name="T41" fmla="*/ 5105 h 6202"/>
                  <a:gd name="T42" fmla="*/ 1288 w 5155"/>
                  <a:gd name="T43" fmla="*/ 5122 h 6202"/>
                  <a:gd name="T44" fmla="*/ 4742 w 5155"/>
                  <a:gd name="T45" fmla="*/ 5119 h 6202"/>
                  <a:gd name="T46" fmla="*/ 4785 w 5155"/>
                  <a:gd name="T47" fmla="*/ 5087 h 6202"/>
                  <a:gd name="T48" fmla="*/ 4802 w 5155"/>
                  <a:gd name="T49" fmla="*/ 5034 h 6202"/>
                  <a:gd name="T50" fmla="*/ 4797 w 5155"/>
                  <a:gd name="T51" fmla="*/ 414 h 6202"/>
                  <a:gd name="T52" fmla="*/ 4765 w 5155"/>
                  <a:gd name="T53" fmla="*/ 370 h 6202"/>
                  <a:gd name="T54" fmla="*/ 4714 w 5155"/>
                  <a:gd name="T55" fmla="*/ 353 h 6202"/>
                  <a:gd name="T56" fmla="*/ 1288 w 5155"/>
                  <a:gd name="T57" fmla="*/ 0 h 6202"/>
                  <a:gd name="T58" fmla="*/ 4785 w 5155"/>
                  <a:gd name="T59" fmla="*/ 6 h 6202"/>
                  <a:gd name="T60" fmla="*/ 4916 w 5155"/>
                  <a:gd name="T61" fmla="*/ 49 h 6202"/>
                  <a:gd name="T62" fmla="*/ 5025 w 5155"/>
                  <a:gd name="T63" fmla="*/ 129 h 6202"/>
                  <a:gd name="T64" fmla="*/ 5106 w 5155"/>
                  <a:gd name="T65" fmla="*/ 238 h 6202"/>
                  <a:gd name="T66" fmla="*/ 5150 w 5155"/>
                  <a:gd name="T67" fmla="*/ 370 h 6202"/>
                  <a:gd name="T68" fmla="*/ 5155 w 5155"/>
                  <a:gd name="T69" fmla="*/ 5034 h 6202"/>
                  <a:gd name="T70" fmla="*/ 5133 w 5155"/>
                  <a:gd name="T71" fmla="*/ 5173 h 6202"/>
                  <a:gd name="T72" fmla="*/ 5070 w 5155"/>
                  <a:gd name="T73" fmla="*/ 5294 h 6202"/>
                  <a:gd name="T74" fmla="*/ 4974 w 5155"/>
                  <a:gd name="T75" fmla="*/ 5390 h 6202"/>
                  <a:gd name="T76" fmla="*/ 4853 w 5155"/>
                  <a:gd name="T77" fmla="*/ 5455 h 6202"/>
                  <a:gd name="T78" fmla="*/ 4714 w 5155"/>
                  <a:gd name="T79" fmla="*/ 5475 h 6202"/>
                  <a:gd name="T80" fmla="*/ 4312 w 5155"/>
                  <a:gd name="T81" fmla="*/ 5758 h 6202"/>
                  <a:gd name="T82" fmla="*/ 4289 w 5155"/>
                  <a:gd name="T83" fmla="*/ 5898 h 6202"/>
                  <a:gd name="T84" fmla="*/ 4225 w 5155"/>
                  <a:gd name="T85" fmla="*/ 6019 h 6202"/>
                  <a:gd name="T86" fmla="*/ 4130 w 5155"/>
                  <a:gd name="T87" fmla="*/ 6115 h 6202"/>
                  <a:gd name="T88" fmla="*/ 4008 w 5155"/>
                  <a:gd name="T89" fmla="*/ 6179 h 6202"/>
                  <a:gd name="T90" fmla="*/ 3868 w 5155"/>
                  <a:gd name="T91" fmla="*/ 6202 h 6202"/>
                  <a:gd name="T92" fmla="*/ 370 w 5155"/>
                  <a:gd name="T93" fmla="*/ 6194 h 6202"/>
                  <a:gd name="T94" fmla="*/ 240 w 5155"/>
                  <a:gd name="T95" fmla="*/ 6151 h 6202"/>
                  <a:gd name="T96" fmla="*/ 129 w 5155"/>
                  <a:gd name="T97" fmla="*/ 6072 h 6202"/>
                  <a:gd name="T98" fmla="*/ 49 w 5155"/>
                  <a:gd name="T99" fmla="*/ 5962 h 6202"/>
                  <a:gd name="T100" fmla="*/ 6 w 5155"/>
                  <a:gd name="T101" fmla="*/ 5830 h 6202"/>
                  <a:gd name="T102" fmla="*/ 0 w 5155"/>
                  <a:gd name="T103" fmla="*/ 1167 h 6202"/>
                  <a:gd name="T104" fmla="*/ 23 w 5155"/>
                  <a:gd name="T105" fmla="*/ 1027 h 6202"/>
                  <a:gd name="T106" fmla="*/ 85 w 5155"/>
                  <a:gd name="T107" fmla="*/ 906 h 6202"/>
                  <a:gd name="T108" fmla="*/ 182 w 5155"/>
                  <a:gd name="T109" fmla="*/ 810 h 6202"/>
                  <a:gd name="T110" fmla="*/ 302 w 5155"/>
                  <a:gd name="T111" fmla="*/ 748 h 6202"/>
                  <a:gd name="T112" fmla="*/ 442 w 5155"/>
                  <a:gd name="T113" fmla="*/ 725 h 6202"/>
                  <a:gd name="T114" fmla="*/ 844 w 5155"/>
                  <a:gd name="T115" fmla="*/ 442 h 6202"/>
                  <a:gd name="T116" fmla="*/ 867 w 5155"/>
                  <a:gd name="T117" fmla="*/ 302 h 6202"/>
                  <a:gd name="T118" fmla="*/ 931 w 5155"/>
                  <a:gd name="T119" fmla="*/ 182 h 6202"/>
                  <a:gd name="T120" fmla="*/ 1025 w 5155"/>
                  <a:gd name="T121" fmla="*/ 85 h 6202"/>
                  <a:gd name="T122" fmla="*/ 1148 w 5155"/>
                  <a:gd name="T123" fmla="*/ 23 h 6202"/>
                  <a:gd name="T124" fmla="*/ 1288 w 5155"/>
                  <a:gd name="T125" fmla="*/ 0 h 6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55" h="6202">
                    <a:moveTo>
                      <a:pt x="442" y="1078"/>
                    </a:moveTo>
                    <a:lnTo>
                      <a:pt x="414" y="1082"/>
                    </a:lnTo>
                    <a:lnTo>
                      <a:pt x="389" y="1095"/>
                    </a:lnTo>
                    <a:lnTo>
                      <a:pt x="370" y="1114"/>
                    </a:lnTo>
                    <a:lnTo>
                      <a:pt x="359" y="1138"/>
                    </a:lnTo>
                    <a:lnTo>
                      <a:pt x="353" y="1167"/>
                    </a:lnTo>
                    <a:lnTo>
                      <a:pt x="353" y="5758"/>
                    </a:lnTo>
                    <a:lnTo>
                      <a:pt x="359" y="5787"/>
                    </a:lnTo>
                    <a:lnTo>
                      <a:pt x="370" y="5811"/>
                    </a:lnTo>
                    <a:lnTo>
                      <a:pt x="389" y="5830"/>
                    </a:lnTo>
                    <a:lnTo>
                      <a:pt x="414" y="5843"/>
                    </a:lnTo>
                    <a:lnTo>
                      <a:pt x="442" y="5847"/>
                    </a:lnTo>
                    <a:lnTo>
                      <a:pt x="3868" y="5847"/>
                    </a:lnTo>
                    <a:lnTo>
                      <a:pt x="3896" y="5843"/>
                    </a:lnTo>
                    <a:lnTo>
                      <a:pt x="3921" y="5830"/>
                    </a:lnTo>
                    <a:lnTo>
                      <a:pt x="3940" y="5811"/>
                    </a:lnTo>
                    <a:lnTo>
                      <a:pt x="3953" y="5787"/>
                    </a:lnTo>
                    <a:lnTo>
                      <a:pt x="3957" y="5758"/>
                    </a:lnTo>
                    <a:lnTo>
                      <a:pt x="3957" y="5475"/>
                    </a:lnTo>
                    <a:lnTo>
                      <a:pt x="1288" y="5475"/>
                    </a:lnTo>
                    <a:lnTo>
                      <a:pt x="1216" y="5470"/>
                    </a:lnTo>
                    <a:lnTo>
                      <a:pt x="1148" y="5455"/>
                    </a:lnTo>
                    <a:lnTo>
                      <a:pt x="1084" y="5426"/>
                    </a:lnTo>
                    <a:lnTo>
                      <a:pt x="1025" y="5390"/>
                    </a:lnTo>
                    <a:lnTo>
                      <a:pt x="974" y="5347"/>
                    </a:lnTo>
                    <a:lnTo>
                      <a:pt x="931" y="5294"/>
                    </a:lnTo>
                    <a:lnTo>
                      <a:pt x="895" y="5238"/>
                    </a:lnTo>
                    <a:lnTo>
                      <a:pt x="867" y="5173"/>
                    </a:lnTo>
                    <a:lnTo>
                      <a:pt x="852" y="5105"/>
                    </a:lnTo>
                    <a:lnTo>
                      <a:pt x="844" y="5034"/>
                    </a:lnTo>
                    <a:lnTo>
                      <a:pt x="844" y="1078"/>
                    </a:lnTo>
                    <a:lnTo>
                      <a:pt x="442" y="1078"/>
                    </a:lnTo>
                    <a:close/>
                    <a:moveTo>
                      <a:pt x="1288" y="353"/>
                    </a:moveTo>
                    <a:lnTo>
                      <a:pt x="1259" y="357"/>
                    </a:lnTo>
                    <a:lnTo>
                      <a:pt x="1235" y="370"/>
                    </a:lnTo>
                    <a:lnTo>
                      <a:pt x="1216" y="389"/>
                    </a:lnTo>
                    <a:lnTo>
                      <a:pt x="1203" y="414"/>
                    </a:lnTo>
                    <a:lnTo>
                      <a:pt x="1199" y="442"/>
                    </a:lnTo>
                    <a:lnTo>
                      <a:pt x="1199" y="5034"/>
                    </a:lnTo>
                    <a:lnTo>
                      <a:pt x="1203" y="5062"/>
                    </a:lnTo>
                    <a:lnTo>
                      <a:pt x="1216" y="5087"/>
                    </a:lnTo>
                    <a:lnTo>
                      <a:pt x="1235" y="5105"/>
                    </a:lnTo>
                    <a:lnTo>
                      <a:pt x="1259" y="5119"/>
                    </a:lnTo>
                    <a:lnTo>
                      <a:pt x="1288" y="5122"/>
                    </a:lnTo>
                    <a:lnTo>
                      <a:pt x="4714" y="5122"/>
                    </a:lnTo>
                    <a:lnTo>
                      <a:pt x="4742" y="5119"/>
                    </a:lnTo>
                    <a:lnTo>
                      <a:pt x="4765" y="5105"/>
                    </a:lnTo>
                    <a:lnTo>
                      <a:pt x="4785" y="5087"/>
                    </a:lnTo>
                    <a:lnTo>
                      <a:pt x="4797" y="5062"/>
                    </a:lnTo>
                    <a:lnTo>
                      <a:pt x="4802" y="5034"/>
                    </a:lnTo>
                    <a:lnTo>
                      <a:pt x="4802" y="442"/>
                    </a:lnTo>
                    <a:lnTo>
                      <a:pt x="4797" y="414"/>
                    </a:lnTo>
                    <a:lnTo>
                      <a:pt x="4785" y="389"/>
                    </a:lnTo>
                    <a:lnTo>
                      <a:pt x="4765" y="370"/>
                    </a:lnTo>
                    <a:lnTo>
                      <a:pt x="4742" y="357"/>
                    </a:lnTo>
                    <a:lnTo>
                      <a:pt x="4714" y="353"/>
                    </a:lnTo>
                    <a:lnTo>
                      <a:pt x="1288" y="353"/>
                    </a:lnTo>
                    <a:close/>
                    <a:moveTo>
                      <a:pt x="1288" y="0"/>
                    </a:moveTo>
                    <a:lnTo>
                      <a:pt x="4714" y="0"/>
                    </a:lnTo>
                    <a:lnTo>
                      <a:pt x="4785" y="6"/>
                    </a:lnTo>
                    <a:lnTo>
                      <a:pt x="4853" y="23"/>
                    </a:lnTo>
                    <a:lnTo>
                      <a:pt x="4916" y="49"/>
                    </a:lnTo>
                    <a:lnTo>
                      <a:pt x="4974" y="85"/>
                    </a:lnTo>
                    <a:lnTo>
                      <a:pt x="5025" y="129"/>
                    </a:lnTo>
                    <a:lnTo>
                      <a:pt x="5070" y="182"/>
                    </a:lnTo>
                    <a:lnTo>
                      <a:pt x="5106" y="238"/>
                    </a:lnTo>
                    <a:lnTo>
                      <a:pt x="5133" y="302"/>
                    </a:lnTo>
                    <a:lnTo>
                      <a:pt x="5150" y="370"/>
                    </a:lnTo>
                    <a:lnTo>
                      <a:pt x="5155" y="442"/>
                    </a:lnTo>
                    <a:lnTo>
                      <a:pt x="5155" y="5034"/>
                    </a:lnTo>
                    <a:lnTo>
                      <a:pt x="5150" y="5105"/>
                    </a:lnTo>
                    <a:lnTo>
                      <a:pt x="5133" y="5173"/>
                    </a:lnTo>
                    <a:lnTo>
                      <a:pt x="5106" y="5238"/>
                    </a:lnTo>
                    <a:lnTo>
                      <a:pt x="5070" y="5294"/>
                    </a:lnTo>
                    <a:lnTo>
                      <a:pt x="5025" y="5347"/>
                    </a:lnTo>
                    <a:lnTo>
                      <a:pt x="4974" y="5390"/>
                    </a:lnTo>
                    <a:lnTo>
                      <a:pt x="4916" y="5426"/>
                    </a:lnTo>
                    <a:lnTo>
                      <a:pt x="4853" y="5455"/>
                    </a:lnTo>
                    <a:lnTo>
                      <a:pt x="4785" y="5470"/>
                    </a:lnTo>
                    <a:lnTo>
                      <a:pt x="4714" y="5475"/>
                    </a:lnTo>
                    <a:lnTo>
                      <a:pt x="4312" y="5475"/>
                    </a:lnTo>
                    <a:lnTo>
                      <a:pt x="4312" y="5758"/>
                    </a:lnTo>
                    <a:lnTo>
                      <a:pt x="4304" y="5830"/>
                    </a:lnTo>
                    <a:lnTo>
                      <a:pt x="4289" y="5898"/>
                    </a:lnTo>
                    <a:lnTo>
                      <a:pt x="4261" y="5962"/>
                    </a:lnTo>
                    <a:lnTo>
                      <a:pt x="4225" y="6019"/>
                    </a:lnTo>
                    <a:lnTo>
                      <a:pt x="4181" y="6072"/>
                    </a:lnTo>
                    <a:lnTo>
                      <a:pt x="4130" y="6115"/>
                    </a:lnTo>
                    <a:lnTo>
                      <a:pt x="4072" y="6151"/>
                    </a:lnTo>
                    <a:lnTo>
                      <a:pt x="4008" y="6179"/>
                    </a:lnTo>
                    <a:lnTo>
                      <a:pt x="3940" y="6194"/>
                    </a:lnTo>
                    <a:lnTo>
                      <a:pt x="3868" y="6202"/>
                    </a:lnTo>
                    <a:lnTo>
                      <a:pt x="442" y="6202"/>
                    </a:lnTo>
                    <a:lnTo>
                      <a:pt x="370" y="6194"/>
                    </a:lnTo>
                    <a:lnTo>
                      <a:pt x="302" y="6179"/>
                    </a:lnTo>
                    <a:lnTo>
                      <a:pt x="240" y="6151"/>
                    </a:lnTo>
                    <a:lnTo>
                      <a:pt x="182" y="6115"/>
                    </a:lnTo>
                    <a:lnTo>
                      <a:pt x="129" y="6072"/>
                    </a:lnTo>
                    <a:lnTo>
                      <a:pt x="85" y="6019"/>
                    </a:lnTo>
                    <a:lnTo>
                      <a:pt x="49" y="5962"/>
                    </a:lnTo>
                    <a:lnTo>
                      <a:pt x="23" y="5898"/>
                    </a:lnTo>
                    <a:lnTo>
                      <a:pt x="6" y="5830"/>
                    </a:lnTo>
                    <a:lnTo>
                      <a:pt x="0" y="5758"/>
                    </a:lnTo>
                    <a:lnTo>
                      <a:pt x="0" y="1167"/>
                    </a:lnTo>
                    <a:lnTo>
                      <a:pt x="6" y="1095"/>
                    </a:lnTo>
                    <a:lnTo>
                      <a:pt x="23" y="1027"/>
                    </a:lnTo>
                    <a:lnTo>
                      <a:pt x="49" y="963"/>
                    </a:lnTo>
                    <a:lnTo>
                      <a:pt x="85" y="906"/>
                    </a:lnTo>
                    <a:lnTo>
                      <a:pt x="129" y="853"/>
                    </a:lnTo>
                    <a:lnTo>
                      <a:pt x="182" y="810"/>
                    </a:lnTo>
                    <a:lnTo>
                      <a:pt x="240" y="774"/>
                    </a:lnTo>
                    <a:lnTo>
                      <a:pt x="302" y="748"/>
                    </a:lnTo>
                    <a:lnTo>
                      <a:pt x="370" y="731"/>
                    </a:lnTo>
                    <a:lnTo>
                      <a:pt x="442" y="725"/>
                    </a:lnTo>
                    <a:lnTo>
                      <a:pt x="844" y="725"/>
                    </a:lnTo>
                    <a:lnTo>
                      <a:pt x="844" y="442"/>
                    </a:lnTo>
                    <a:lnTo>
                      <a:pt x="852" y="370"/>
                    </a:lnTo>
                    <a:lnTo>
                      <a:pt x="867" y="302"/>
                    </a:lnTo>
                    <a:lnTo>
                      <a:pt x="895" y="238"/>
                    </a:lnTo>
                    <a:lnTo>
                      <a:pt x="931" y="182"/>
                    </a:lnTo>
                    <a:lnTo>
                      <a:pt x="974" y="129"/>
                    </a:lnTo>
                    <a:lnTo>
                      <a:pt x="1025" y="85"/>
                    </a:lnTo>
                    <a:lnTo>
                      <a:pt x="1084" y="49"/>
                    </a:lnTo>
                    <a:lnTo>
                      <a:pt x="1148" y="23"/>
                    </a:lnTo>
                    <a:lnTo>
                      <a:pt x="1216" y="6"/>
                    </a:lnTo>
                    <a:lnTo>
                      <a:pt x="1288" y="0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53">
                <a:extLst>
                  <a:ext uri="{FF2B5EF4-FFF2-40B4-BE49-F238E27FC236}">
                    <a16:creationId xmlns:a16="http://schemas.microsoft.com/office/drawing/2014/main" id="{69926A25-48D3-4556-A5EE-6A05832B8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75298" y="-139704"/>
                <a:ext cx="2339973" cy="279401"/>
              </a:xfrm>
              <a:custGeom>
                <a:avLst/>
                <a:gdLst>
                  <a:gd name="T0" fmla="*/ 178 w 2949"/>
                  <a:gd name="T1" fmla="*/ 0 h 353"/>
                  <a:gd name="T2" fmla="*/ 2773 w 2949"/>
                  <a:gd name="T3" fmla="*/ 0 h 353"/>
                  <a:gd name="T4" fmla="*/ 2813 w 2949"/>
                  <a:gd name="T5" fmla="*/ 3 h 353"/>
                  <a:gd name="T6" fmla="*/ 2851 w 2949"/>
                  <a:gd name="T7" fmla="*/ 17 h 353"/>
                  <a:gd name="T8" fmla="*/ 2883 w 2949"/>
                  <a:gd name="T9" fmla="*/ 37 h 353"/>
                  <a:gd name="T10" fmla="*/ 2911 w 2949"/>
                  <a:gd name="T11" fmla="*/ 66 h 353"/>
                  <a:gd name="T12" fmla="*/ 2932 w 2949"/>
                  <a:gd name="T13" fmla="*/ 98 h 353"/>
                  <a:gd name="T14" fmla="*/ 2945 w 2949"/>
                  <a:gd name="T15" fmla="*/ 136 h 353"/>
                  <a:gd name="T16" fmla="*/ 2949 w 2949"/>
                  <a:gd name="T17" fmla="*/ 175 h 353"/>
                  <a:gd name="T18" fmla="*/ 2945 w 2949"/>
                  <a:gd name="T19" fmla="*/ 217 h 353"/>
                  <a:gd name="T20" fmla="*/ 2932 w 2949"/>
                  <a:gd name="T21" fmla="*/ 254 h 353"/>
                  <a:gd name="T22" fmla="*/ 2911 w 2949"/>
                  <a:gd name="T23" fmla="*/ 287 h 353"/>
                  <a:gd name="T24" fmla="*/ 2883 w 2949"/>
                  <a:gd name="T25" fmla="*/ 315 h 353"/>
                  <a:gd name="T26" fmla="*/ 2851 w 2949"/>
                  <a:gd name="T27" fmla="*/ 336 h 353"/>
                  <a:gd name="T28" fmla="*/ 2813 w 2949"/>
                  <a:gd name="T29" fmla="*/ 349 h 353"/>
                  <a:gd name="T30" fmla="*/ 2773 w 2949"/>
                  <a:gd name="T31" fmla="*/ 353 h 353"/>
                  <a:gd name="T32" fmla="*/ 178 w 2949"/>
                  <a:gd name="T33" fmla="*/ 353 h 353"/>
                  <a:gd name="T34" fmla="*/ 136 w 2949"/>
                  <a:gd name="T35" fmla="*/ 349 h 353"/>
                  <a:gd name="T36" fmla="*/ 101 w 2949"/>
                  <a:gd name="T37" fmla="*/ 336 h 353"/>
                  <a:gd name="T38" fmla="*/ 67 w 2949"/>
                  <a:gd name="T39" fmla="*/ 315 h 353"/>
                  <a:gd name="T40" fmla="*/ 40 w 2949"/>
                  <a:gd name="T41" fmla="*/ 287 h 353"/>
                  <a:gd name="T42" fmla="*/ 19 w 2949"/>
                  <a:gd name="T43" fmla="*/ 254 h 353"/>
                  <a:gd name="T44" fmla="*/ 6 w 2949"/>
                  <a:gd name="T45" fmla="*/ 217 h 353"/>
                  <a:gd name="T46" fmla="*/ 0 w 2949"/>
                  <a:gd name="T47" fmla="*/ 175 h 353"/>
                  <a:gd name="T48" fmla="*/ 6 w 2949"/>
                  <a:gd name="T49" fmla="*/ 136 h 353"/>
                  <a:gd name="T50" fmla="*/ 19 w 2949"/>
                  <a:gd name="T51" fmla="*/ 98 h 353"/>
                  <a:gd name="T52" fmla="*/ 40 w 2949"/>
                  <a:gd name="T53" fmla="*/ 66 h 353"/>
                  <a:gd name="T54" fmla="*/ 67 w 2949"/>
                  <a:gd name="T55" fmla="*/ 37 h 353"/>
                  <a:gd name="T56" fmla="*/ 101 w 2949"/>
                  <a:gd name="T57" fmla="*/ 17 h 353"/>
                  <a:gd name="T58" fmla="*/ 136 w 2949"/>
                  <a:gd name="T59" fmla="*/ 3 h 353"/>
                  <a:gd name="T60" fmla="*/ 178 w 2949"/>
                  <a:gd name="T61" fmla="*/ 0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49" h="353">
                    <a:moveTo>
                      <a:pt x="178" y="0"/>
                    </a:moveTo>
                    <a:lnTo>
                      <a:pt x="2773" y="0"/>
                    </a:lnTo>
                    <a:lnTo>
                      <a:pt x="2813" y="3"/>
                    </a:lnTo>
                    <a:lnTo>
                      <a:pt x="2851" y="17"/>
                    </a:lnTo>
                    <a:lnTo>
                      <a:pt x="2883" y="37"/>
                    </a:lnTo>
                    <a:lnTo>
                      <a:pt x="2911" y="66"/>
                    </a:lnTo>
                    <a:lnTo>
                      <a:pt x="2932" y="98"/>
                    </a:lnTo>
                    <a:lnTo>
                      <a:pt x="2945" y="136"/>
                    </a:lnTo>
                    <a:lnTo>
                      <a:pt x="2949" y="175"/>
                    </a:lnTo>
                    <a:lnTo>
                      <a:pt x="2945" y="217"/>
                    </a:lnTo>
                    <a:lnTo>
                      <a:pt x="2932" y="254"/>
                    </a:lnTo>
                    <a:lnTo>
                      <a:pt x="2911" y="287"/>
                    </a:lnTo>
                    <a:lnTo>
                      <a:pt x="2883" y="315"/>
                    </a:lnTo>
                    <a:lnTo>
                      <a:pt x="2851" y="336"/>
                    </a:lnTo>
                    <a:lnTo>
                      <a:pt x="2813" y="349"/>
                    </a:lnTo>
                    <a:lnTo>
                      <a:pt x="2773" y="353"/>
                    </a:lnTo>
                    <a:lnTo>
                      <a:pt x="178" y="353"/>
                    </a:lnTo>
                    <a:lnTo>
                      <a:pt x="136" y="349"/>
                    </a:lnTo>
                    <a:lnTo>
                      <a:pt x="101" y="336"/>
                    </a:lnTo>
                    <a:lnTo>
                      <a:pt x="67" y="315"/>
                    </a:lnTo>
                    <a:lnTo>
                      <a:pt x="40" y="287"/>
                    </a:lnTo>
                    <a:lnTo>
                      <a:pt x="19" y="254"/>
                    </a:lnTo>
                    <a:lnTo>
                      <a:pt x="6" y="217"/>
                    </a:lnTo>
                    <a:lnTo>
                      <a:pt x="0" y="175"/>
                    </a:lnTo>
                    <a:lnTo>
                      <a:pt x="6" y="136"/>
                    </a:lnTo>
                    <a:lnTo>
                      <a:pt x="19" y="98"/>
                    </a:lnTo>
                    <a:lnTo>
                      <a:pt x="40" y="66"/>
                    </a:lnTo>
                    <a:lnTo>
                      <a:pt x="67" y="37"/>
                    </a:lnTo>
                    <a:lnTo>
                      <a:pt x="101" y="17"/>
                    </a:lnTo>
                    <a:lnTo>
                      <a:pt x="136" y="3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 54">
                <a:extLst>
                  <a:ext uri="{FF2B5EF4-FFF2-40B4-BE49-F238E27FC236}">
                    <a16:creationId xmlns:a16="http://schemas.microsoft.com/office/drawing/2014/main" id="{9ED72A35-47E5-4B1B-8FF4-00F9CA9E0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75298" y="528636"/>
                <a:ext cx="2339973" cy="279401"/>
              </a:xfrm>
              <a:custGeom>
                <a:avLst/>
                <a:gdLst>
                  <a:gd name="T0" fmla="*/ 178 w 2949"/>
                  <a:gd name="T1" fmla="*/ 0 h 353"/>
                  <a:gd name="T2" fmla="*/ 2773 w 2949"/>
                  <a:gd name="T3" fmla="*/ 0 h 353"/>
                  <a:gd name="T4" fmla="*/ 2813 w 2949"/>
                  <a:gd name="T5" fmla="*/ 4 h 353"/>
                  <a:gd name="T6" fmla="*/ 2851 w 2949"/>
                  <a:gd name="T7" fmla="*/ 17 h 353"/>
                  <a:gd name="T8" fmla="*/ 2883 w 2949"/>
                  <a:gd name="T9" fmla="*/ 40 h 353"/>
                  <a:gd name="T10" fmla="*/ 2911 w 2949"/>
                  <a:gd name="T11" fmla="*/ 66 h 353"/>
                  <a:gd name="T12" fmla="*/ 2932 w 2949"/>
                  <a:gd name="T13" fmla="*/ 99 h 353"/>
                  <a:gd name="T14" fmla="*/ 2945 w 2949"/>
                  <a:gd name="T15" fmla="*/ 136 h 353"/>
                  <a:gd name="T16" fmla="*/ 2949 w 2949"/>
                  <a:gd name="T17" fmla="*/ 178 h 353"/>
                  <a:gd name="T18" fmla="*/ 2945 w 2949"/>
                  <a:gd name="T19" fmla="*/ 217 h 353"/>
                  <a:gd name="T20" fmla="*/ 2932 w 2949"/>
                  <a:gd name="T21" fmla="*/ 255 h 353"/>
                  <a:gd name="T22" fmla="*/ 2911 w 2949"/>
                  <a:gd name="T23" fmla="*/ 287 h 353"/>
                  <a:gd name="T24" fmla="*/ 2883 w 2949"/>
                  <a:gd name="T25" fmla="*/ 316 h 353"/>
                  <a:gd name="T26" fmla="*/ 2851 w 2949"/>
                  <a:gd name="T27" fmla="*/ 336 h 353"/>
                  <a:gd name="T28" fmla="*/ 2813 w 2949"/>
                  <a:gd name="T29" fmla="*/ 350 h 353"/>
                  <a:gd name="T30" fmla="*/ 2773 w 2949"/>
                  <a:gd name="T31" fmla="*/ 353 h 353"/>
                  <a:gd name="T32" fmla="*/ 178 w 2949"/>
                  <a:gd name="T33" fmla="*/ 353 h 353"/>
                  <a:gd name="T34" fmla="*/ 136 w 2949"/>
                  <a:gd name="T35" fmla="*/ 350 h 353"/>
                  <a:gd name="T36" fmla="*/ 101 w 2949"/>
                  <a:gd name="T37" fmla="*/ 336 h 353"/>
                  <a:gd name="T38" fmla="*/ 67 w 2949"/>
                  <a:gd name="T39" fmla="*/ 316 h 353"/>
                  <a:gd name="T40" fmla="*/ 40 w 2949"/>
                  <a:gd name="T41" fmla="*/ 287 h 353"/>
                  <a:gd name="T42" fmla="*/ 19 w 2949"/>
                  <a:gd name="T43" fmla="*/ 255 h 353"/>
                  <a:gd name="T44" fmla="*/ 6 w 2949"/>
                  <a:gd name="T45" fmla="*/ 217 h 353"/>
                  <a:gd name="T46" fmla="*/ 0 w 2949"/>
                  <a:gd name="T47" fmla="*/ 178 h 353"/>
                  <a:gd name="T48" fmla="*/ 6 w 2949"/>
                  <a:gd name="T49" fmla="*/ 136 h 353"/>
                  <a:gd name="T50" fmla="*/ 19 w 2949"/>
                  <a:gd name="T51" fmla="*/ 99 h 353"/>
                  <a:gd name="T52" fmla="*/ 40 w 2949"/>
                  <a:gd name="T53" fmla="*/ 66 h 353"/>
                  <a:gd name="T54" fmla="*/ 67 w 2949"/>
                  <a:gd name="T55" fmla="*/ 40 h 353"/>
                  <a:gd name="T56" fmla="*/ 101 w 2949"/>
                  <a:gd name="T57" fmla="*/ 17 h 353"/>
                  <a:gd name="T58" fmla="*/ 136 w 2949"/>
                  <a:gd name="T59" fmla="*/ 4 h 353"/>
                  <a:gd name="T60" fmla="*/ 178 w 2949"/>
                  <a:gd name="T61" fmla="*/ 0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49" h="353">
                    <a:moveTo>
                      <a:pt x="178" y="0"/>
                    </a:moveTo>
                    <a:lnTo>
                      <a:pt x="2773" y="0"/>
                    </a:lnTo>
                    <a:lnTo>
                      <a:pt x="2813" y="4"/>
                    </a:lnTo>
                    <a:lnTo>
                      <a:pt x="2851" y="17"/>
                    </a:lnTo>
                    <a:lnTo>
                      <a:pt x="2883" y="40"/>
                    </a:lnTo>
                    <a:lnTo>
                      <a:pt x="2911" y="66"/>
                    </a:lnTo>
                    <a:lnTo>
                      <a:pt x="2932" y="99"/>
                    </a:lnTo>
                    <a:lnTo>
                      <a:pt x="2945" y="136"/>
                    </a:lnTo>
                    <a:lnTo>
                      <a:pt x="2949" y="178"/>
                    </a:lnTo>
                    <a:lnTo>
                      <a:pt x="2945" y="217"/>
                    </a:lnTo>
                    <a:lnTo>
                      <a:pt x="2932" y="255"/>
                    </a:lnTo>
                    <a:lnTo>
                      <a:pt x="2911" y="287"/>
                    </a:lnTo>
                    <a:lnTo>
                      <a:pt x="2883" y="316"/>
                    </a:lnTo>
                    <a:lnTo>
                      <a:pt x="2851" y="336"/>
                    </a:lnTo>
                    <a:lnTo>
                      <a:pt x="2813" y="350"/>
                    </a:lnTo>
                    <a:lnTo>
                      <a:pt x="2773" y="353"/>
                    </a:lnTo>
                    <a:lnTo>
                      <a:pt x="178" y="353"/>
                    </a:lnTo>
                    <a:lnTo>
                      <a:pt x="136" y="350"/>
                    </a:lnTo>
                    <a:lnTo>
                      <a:pt x="101" y="336"/>
                    </a:lnTo>
                    <a:lnTo>
                      <a:pt x="67" y="316"/>
                    </a:lnTo>
                    <a:lnTo>
                      <a:pt x="40" y="287"/>
                    </a:lnTo>
                    <a:lnTo>
                      <a:pt x="19" y="255"/>
                    </a:lnTo>
                    <a:lnTo>
                      <a:pt x="6" y="217"/>
                    </a:lnTo>
                    <a:lnTo>
                      <a:pt x="0" y="178"/>
                    </a:lnTo>
                    <a:lnTo>
                      <a:pt x="6" y="136"/>
                    </a:lnTo>
                    <a:lnTo>
                      <a:pt x="19" y="99"/>
                    </a:lnTo>
                    <a:lnTo>
                      <a:pt x="40" y="66"/>
                    </a:lnTo>
                    <a:lnTo>
                      <a:pt x="67" y="40"/>
                    </a:lnTo>
                    <a:lnTo>
                      <a:pt x="101" y="17"/>
                    </a:lnTo>
                    <a:lnTo>
                      <a:pt x="136" y="4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55">
                <a:extLst>
                  <a:ext uri="{FF2B5EF4-FFF2-40B4-BE49-F238E27FC236}">
                    <a16:creationId xmlns:a16="http://schemas.microsoft.com/office/drawing/2014/main" id="{46E0F2C1-58E2-405B-9291-9AFCEE6F1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98055" y="-422381"/>
                <a:ext cx="2339974" cy="530619"/>
              </a:xfrm>
              <a:custGeom>
                <a:avLst/>
                <a:gdLst>
                  <a:gd name="T0" fmla="*/ 178 w 2949"/>
                  <a:gd name="T1" fmla="*/ 0 h 355"/>
                  <a:gd name="T2" fmla="*/ 2773 w 2949"/>
                  <a:gd name="T3" fmla="*/ 0 h 355"/>
                  <a:gd name="T4" fmla="*/ 2813 w 2949"/>
                  <a:gd name="T5" fmla="*/ 6 h 355"/>
                  <a:gd name="T6" fmla="*/ 2851 w 2949"/>
                  <a:gd name="T7" fmla="*/ 19 h 355"/>
                  <a:gd name="T8" fmla="*/ 2883 w 2949"/>
                  <a:gd name="T9" fmla="*/ 40 h 355"/>
                  <a:gd name="T10" fmla="*/ 2911 w 2949"/>
                  <a:gd name="T11" fmla="*/ 66 h 355"/>
                  <a:gd name="T12" fmla="*/ 2932 w 2949"/>
                  <a:gd name="T13" fmla="*/ 100 h 355"/>
                  <a:gd name="T14" fmla="*/ 2945 w 2949"/>
                  <a:gd name="T15" fmla="*/ 136 h 355"/>
                  <a:gd name="T16" fmla="*/ 2949 w 2949"/>
                  <a:gd name="T17" fmla="*/ 178 h 355"/>
                  <a:gd name="T18" fmla="*/ 2945 w 2949"/>
                  <a:gd name="T19" fmla="*/ 217 h 355"/>
                  <a:gd name="T20" fmla="*/ 2932 w 2949"/>
                  <a:gd name="T21" fmla="*/ 255 h 355"/>
                  <a:gd name="T22" fmla="*/ 2911 w 2949"/>
                  <a:gd name="T23" fmla="*/ 287 h 355"/>
                  <a:gd name="T24" fmla="*/ 2883 w 2949"/>
                  <a:gd name="T25" fmla="*/ 315 h 355"/>
                  <a:gd name="T26" fmla="*/ 2851 w 2949"/>
                  <a:gd name="T27" fmla="*/ 336 h 355"/>
                  <a:gd name="T28" fmla="*/ 2813 w 2949"/>
                  <a:gd name="T29" fmla="*/ 349 h 355"/>
                  <a:gd name="T30" fmla="*/ 2773 w 2949"/>
                  <a:gd name="T31" fmla="*/ 355 h 355"/>
                  <a:gd name="T32" fmla="*/ 178 w 2949"/>
                  <a:gd name="T33" fmla="*/ 355 h 355"/>
                  <a:gd name="T34" fmla="*/ 136 w 2949"/>
                  <a:gd name="T35" fmla="*/ 349 h 355"/>
                  <a:gd name="T36" fmla="*/ 101 w 2949"/>
                  <a:gd name="T37" fmla="*/ 336 h 355"/>
                  <a:gd name="T38" fmla="*/ 67 w 2949"/>
                  <a:gd name="T39" fmla="*/ 315 h 355"/>
                  <a:gd name="T40" fmla="*/ 40 w 2949"/>
                  <a:gd name="T41" fmla="*/ 287 h 355"/>
                  <a:gd name="T42" fmla="*/ 19 w 2949"/>
                  <a:gd name="T43" fmla="*/ 255 h 355"/>
                  <a:gd name="T44" fmla="*/ 6 w 2949"/>
                  <a:gd name="T45" fmla="*/ 217 h 355"/>
                  <a:gd name="T46" fmla="*/ 0 w 2949"/>
                  <a:gd name="T47" fmla="*/ 178 h 355"/>
                  <a:gd name="T48" fmla="*/ 6 w 2949"/>
                  <a:gd name="T49" fmla="*/ 136 h 355"/>
                  <a:gd name="T50" fmla="*/ 19 w 2949"/>
                  <a:gd name="T51" fmla="*/ 100 h 355"/>
                  <a:gd name="T52" fmla="*/ 40 w 2949"/>
                  <a:gd name="T53" fmla="*/ 66 h 355"/>
                  <a:gd name="T54" fmla="*/ 67 w 2949"/>
                  <a:gd name="T55" fmla="*/ 40 h 355"/>
                  <a:gd name="T56" fmla="*/ 101 w 2949"/>
                  <a:gd name="T57" fmla="*/ 19 h 355"/>
                  <a:gd name="T58" fmla="*/ 136 w 2949"/>
                  <a:gd name="T59" fmla="*/ 6 h 355"/>
                  <a:gd name="T60" fmla="*/ 178 w 2949"/>
                  <a:gd name="T61" fmla="*/ 0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49" h="355">
                    <a:moveTo>
                      <a:pt x="178" y="0"/>
                    </a:moveTo>
                    <a:lnTo>
                      <a:pt x="2773" y="0"/>
                    </a:lnTo>
                    <a:lnTo>
                      <a:pt x="2813" y="6"/>
                    </a:lnTo>
                    <a:lnTo>
                      <a:pt x="2851" y="19"/>
                    </a:lnTo>
                    <a:lnTo>
                      <a:pt x="2883" y="40"/>
                    </a:lnTo>
                    <a:lnTo>
                      <a:pt x="2911" y="66"/>
                    </a:lnTo>
                    <a:lnTo>
                      <a:pt x="2932" y="100"/>
                    </a:lnTo>
                    <a:lnTo>
                      <a:pt x="2945" y="136"/>
                    </a:lnTo>
                    <a:lnTo>
                      <a:pt x="2949" y="178"/>
                    </a:lnTo>
                    <a:lnTo>
                      <a:pt x="2945" y="217"/>
                    </a:lnTo>
                    <a:lnTo>
                      <a:pt x="2932" y="255"/>
                    </a:lnTo>
                    <a:lnTo>
                      <a:pt x="2911" y="287"/>
                    </a:lnTo>
                    <a:lnTo>
                      <a:pt x="2883" y="315"/>
                    </a:lnTo>
                    <a:lnTo>
                      <a:pt x="2851" y="336"/>
                    </a:lnTo>
                    <a:lnTo>
                      <a:pt x="2813" y="349"/>
                    </a:lnTo>
                    <a:lnTo>
                      <a:pt x="2773" y="355"/>
                    </a:lnTo>
                    <a:lnTo>
                      <a:pt x="178" y="355"/>
                    </a:lnTo>
                    <a:lnTo>
                      <a:pt x="136" y="349"/>
                    </a:lnTo>
                    <a:lnTo>
                      <a:pt x="101" y="336"/>
                    </a:lnTo>
                    <a:lnTo>
                      <a:pt x="67" y="315"/>
                    </a:lnTo>
                    <a:lnTo>
                      <a:pt x="40" y="287"/>
                    </a:lnTo>
                    <a:lnTo>
                      <a:pt x="19" y="255"/>
                    </a:lnTo>
                    <a:lnTo>
                      <a:pt x="6" y="217"/>
                    </a:lnTo>
                    <a:lnTo>
                      <a:pt x="0" y="178"/>
                    </a:lnTo>
                    <a:lnTo>
                      <a:pt x="6" y="136"/>
                    </a:lnTo>
                    <a:lnTo>
                      <a:pt x="19" y="100"/>
                    </a:lnTo>
                    <a:lnTo>
                      <a:pt x="40" y="66"/>
                    </a:lnTo>
                    <a:lnTo>
                      <a:pt x="67" y="40"/>
                    </a:lnTo>
                    <a:lnTo>
                      <a:pt x="101" y="19"/>
                    </a:lnTo>
                    <a:lnTo>
                      <a:pt x="136" y="6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 56">
                <a:extLst>
                  <a:ext uri="{FF2B5EF4-FFF2-40B4-BE49-F238E27FC236}">
                    <a16:creationId xmlns:a16="http://schemas.microsoft.com/office/drawing/2014/main" id="{3BB62344-5CBA-4ADC-B843-ACB14A9E7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575298" y="1863722"/>
                <a:ext cx="2339973" cy="282579"/>
              </a:xfrm>
              <a:custGeom>
                <a:avLst/>
                <a:gdLst>
                  <a:gd name="T0" fmla="*/ 178 w 2949"/>
                  <a:gd name="T1" fmla="*/ 0 h 355"/>
                  <a:gd name="T2" fmla="*/ 2773 w 2949"/>
                  <a:gd name="T3" fmla="*/ 0 h 355"/>
                  <a:gd name="T4" fmla="*/ 2813 w 2949"/>
                  <a:gd name="T5" fmla="*/ 6 h 355"/>
                  <a:gd name="T6" fmla="*/ 2851 w 2949"/>
                  <a:gd name="T7" fmla="*/ 19 h 355"/>
                  <a:gd name="T8" fmla="*/ 2883 w 2949"/>
                  <a:gd name="T9" fmla="*/ 40 h 355"/>
                  <a:gd name="T10" fmla="*/ 2911 w 2949"/>
                  <a:gd name="T11" fmla="*/ 66 h 355"/>
                  <a:gd name="T12" fmla="*/ 2932 w 2949"/>
                  <a:gd name="T13" fmla="*/ 100 h 355"/>
                  <a:gd name="T14" fmla="*/ 2945 w 2949"/>
                  <a:gd name="T15" fmla="*/ 138 h 355"/>
                  <a:gd name="T16" fmla="*/ 2949 w 2949"/>
                  <a:gd name="T17" fmla="*/ 177 h 355"/>
                  <a:gd name="T18" fmla="*/ 2945 w 2949"/>
                  <a:gd name="T19" fmla="*/ 219 h 355"/>
                  <a:gd name="T20" fmla="*/ 2932 w 2949"/>
                  <a:gd name="T21" fmla="*/ 255 h 355"/>
                  <a:gd name="T22" fmla="*/ 2911 w 2949"/>
                  <a:gd name="T23" fmla="*/ 289 h 355"/>
                  <a:gd name="T24" fmla="*/ 2883 w 2949"/>
                  <a:gd name="T25" fmla="*/ 315 h 355"/>
                  <a:gd name="T26" fmla="*/ 2851 w 2949"/>
                  <a:gd name="T27" fmla="*/ 336 h 355"/>
                  <a:gd name="T28" fmla="*/ 2813 w 2949"/>
                  <a:gd name="T29" fmla="*/ 349 h 355"/>
                  <a:gd name="T30" fmla="*/ 2773 w 2949"/>
                  <a:gd name="T31" fmla="*/ 355 h 355"/>
                  <a:gd name="T32" fmla="*/ 178 w 2949"/>
                  <a:gd name="T33" fmla="*/ 355 h 355"/>
                  <a:gd name="T34" fmla="*/ 136 w 2949"/>
                  <a:gd name="T35" fmla="*/ 349 h 355"/>
                  <a:gd name="T36" fmla="*/ 101 w 2949"/>
                  <a:gd name="T37" fmla="*/ 336 h 355"/>
                  <a:gd name="T38" fmla="*/ 67 w 2949"/>
                  <a:gd name="T39" fmla="*/ 315 h 355"/>
                  <a:gd name="T40" fmla="*/ 40 w 2949"/>
                  <a:gd name="T41" fmla="*/ 289 h 355"/>
                  <a:gd name="T42" fmla="*/ 19 w 2949"/>
                  <a:gd name="T43" fmla="*/ 255 h 355"/>
                  <a:gd name="T44" fmla="*/ 6 w 2949"/>
                  <a:gd name="T45" fmla="*/ 219 h 355"/>
                  <a:gd name="T46" fmla="*/ 0 w 2949"/>
                  <a:gd name="T47" fmla="*/ 177 h 355"/>
                  <a:gd name="T48" fmla="*/ 6 w 2949"/>
                  <a:gd name="T49" fmla="*/ 138 h 355"/>
                  <a:gd name="T50" fmla="*/ 19 w 2949"/>
                  <a:gd name="T51" fmla="*/ 100 h 355"/>
                  <a:gd name="T52" fmla="*/ 40 w 2949"/>
                  <a:gd name="T53" fmla="*/ 66 h 355"/>
                  <a:gd name="T54" fmla="*/ 67 w 2949"/>
                  <a:gd name="T55" fmla="*/ 40 h 355"/>
                  <a:gd name="T56" fmla="*/ 101 w 2949"/>
                  <a:gd name="T57" fmla="*/ 19 h 355"/>
                  <a:gd name="T58" fmla="*/ 136 w 2949"/>
                  <a:gd name="T59" fmla="*/ 6 h 355"/>
                  <a:gd name="T60" fmla="*/ 178 w 2949"/>
                  <a:gd name="T61" fmla="*/ 0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49" h="355">
                    <a:moveTo>
                      <a:pt x="178" y="0"/>
                    </a:moveTo>
                    <a:lnTo>
                      <a:pt x="2773" y="0"/>
                    </a:lnTo>
                    <a:lnTo>
                      <a:pt x="2813" y="6"/>
                    </a:lnTo>
                    <a:lnTo>
                      <a:pt x="2851" y="19"/>
                    </a:lnTo>
                    <a:lnTo>
                      <a:pt x="2883" y="40"/>
                    </a:lnTo>
                    <a:lnTo>
                      <a:pt x="2911" y="66"/>
                    </a:lnTo>
                    <a:lnTo>
                      <a:pt x="2932" y="100"/>
                    </a:lnTo>
                    <a:lnTo>
                      <a:pt x="2945" y="138"/>
                    </a:lnTo>
                    <a:lnTo>
                      <a:pt x="2949" y="177"/>
                    </a:lnTo>
                    <a:lnTo>
                      <a:pt x="2945" y="219"/>
                    </a:lnTo>
                    <a:lnTo>
                      <a:pt x="2932" y="255"/>
                    </a:lnTo>
                    <a:lnTo>
                      <a:pt x="2911" y="289"/>
                    </a:lnTo>
                    <a:lnTo>
                      <a:pt x="2883" y="315"/>
                    </a:lnTo>
                    <a:lnTo>
                      <a:pt x="2851" y="336"/>
                    </a:lnTo>
                    <a:lnTo>
                      <a:pt x="2813" y="349"/>
                    </a:lnTo>
                    <a:lnTo>
                      <a:pt x="2773" y="355"/>
                    </a:lnTo>
                    <a:lnTo>
                      <a:pt x="178" y="355"/>
                    </a:lnTo>
                    <a:lnTo>
                      <a:pt x="136" y="349"/>
                    </a:lnTo>
                    <a:lnTo>
                      <a:pt x="101" y="336"/>
                    </a:lnTo>
                    <a:lnTo>
                      <a:pt x="67" y="315"/>
                    </a:lnTo>
                    <a:lnTo>
                      <a:pt x="40" y="289"/>
                    </a:lnTo>
                    <a:lnTo>
                      <a:pt x="19" y="255"/>
                    </a:lnTo>
                    <a:lnTo>
                      <a:pt x="6" y="219"/>
                    </a:lnTo>
                    <a:lnTo>
                      <a:pt x="0" y="177"/>
                    </a:lnTo>
                    <a:lnTo>
                      <a:pt x="6" y="138"/>
                    </a:lnTo>
                    <a:lnTo>
                      <a:pt x="19" y="100"/>
                    </a:lnTo>
                    <a:lnTo>
                      <a:pt x="40" y="66"/>
                    </a:lnTo>
                    <a:lnTo>
                      <a:pt x="67" y="40"/>
                    </a:lnTo>
                    <a:lnTo>
                      <a:pt x="101" y="19"/>
                    </a:lnTo>
                    <a:lnTo>
                      <a:pt x="136" y="6"/>
                    </a:lnTo>
                    <a:lnTo>
                      <a:pt x="1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069B51-D744-4503-A63F-05BC309F003F}"/>
                </a:ext>
              </a:extLst>
            </p:cNvPr>
            <p:cNvSpPr/>
            <p:nvPr/>
          </p:nvSpPr>
          <p:spPr>
            <a:xfrm>
              <a:off x="3318053" y="6075742"/>
              <a:ext cx="2987502" cy="13772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ru-RU" sz="1600" b="1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лобальный фонд </a:t>
              </a:r>
            </a:p>
            <a:p>
              <a:pPr lvl="0" algn="ctr">
                <a:defRPr/>
              </a:pPr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сматривает и утверждает предлагаемые области и мероприятия</a:t>
              </a: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B0564D3C-5A1B-4442-A88B-4B3DF7DD92C6}"/>
                </a:ext>
              </a:extLst>
            </p:cNvPr>
            <p:cNvCxnSpPr>
              <a:cxnSpLocks/>
            </p:cNvCxnSpPr>
            <p:nvPr/>
          </p:nvCxnSpPr>
          <p:spPr>
            <a:xfrm>
              <a:off x="5593559" y="5898236"/>
              <a:ext cx="166785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pic>
          <p:nvPicPr>
            <p:cNvPr id="11" name="Graphic 10" descr="Meeting">
              <a:extLst>
                <a:ext uri="{FF2B5EF4-FFF2-40B4-BE49-F238E27FC236}">
                  <a16:creationId xmlns:a16="http://schemas.microsoft.com/office/drawing/2014/main" id="{24B3B882-307F-47B1-9CDB-2BBE59BCE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06965" y="5512728"/>
              <a:ext cx="676692" cy="676692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4DBC1AE-8531-4A6E-8204-D168E47A87D2}"/>
                </a:ext>
              </a:extLst>
            </p:cNvPr>
            <p:cNvSpPr/>
            <p:nvPr/>
          </p:nvSpPr>
          <p:spPr>
            <a:xfrm>
              <a:off x="6513496" y="6188458"/>
              <a:ext cx="2850931" cy="9933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КК</a:t>
              </a:r>
              <a:endParaRPr lang="en-US" sz="16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>
                <a:defRPr/>
              </a:pPr>
              <a:r>
                <a:rPr lang="ru-RU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учает и осуществляет утвержденные мероприятия</a:t>
              </a:r>
            </a:p>
          </p:txBody>
        </p:sp>
        <p:pic>
          <p:nvPicPr>
            <p:cNvPr id="13" name="Graphic 12" descr="Daily calendar">
              <a:extLst>
                <a:ext uri="{FF2B5EF4-FFF2-40B4-BE49-F238E27FC236}">
                  <a16:creationId xmlns:a16="http://schemas.microsoft.com/office/drawing/2014/main" id="{E80B573C-6F58-464E-9F03-F20328217C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23949" y="5402505"/>
              <a:ext cx="775713" cy="775713"/>
            </a:xfrm>
            <a:prstGeom prst="rect">
              <a:avLst/>
            </a:prstGeom>
          </p:spPr>
        </p:pic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828AA7B-2E80-4C67-BB74-B5687C030B83}"/>
              </a:ext>
            </a:extLst>
          </p:cNvPr>
          <p:cNvCxnSpPr>
            <a:cxnSpLocks/>
          </p:cNvCxnSpPr>
          <p:nvPr/>
        </p:nvCxnSpPr>
        <p:spPr>
          <a:xfrm>
            <a:off x="44768" y="4505151"/>
            <a:ext cx="12102464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798A8F45-7C2D-42D1-B6C4-30E0A30179BF}"/>
              </a:ext>
            </a:extLst>
          </p:cNvPr>
          <p:cNvSpPr txBox="1"/>
          <p:nvPr/>
        </p:nvSpPr>
        <p:spPr>
          <a:xfrm>
            <a:off x="514238" y="4296275"/>
            <a:ext cx="4717661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Последовательность процессов: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63FD4C8-E9F5-4BF1-B7BE-03302218DEA4}"/>
              </a:ext>
            </a:extLst>
          </p:cNvPr>
          <p:cNvCxnSpPr>
            <a:cxnSpLocks/>
          </p:cNvCxnSpPr>
          <p:nvPr/>
        </p:nvCxnSpPr>
        <p:spPr>
          <a:xfrm>
            <a:off x="0" y="1909660"/>
            <a:ext cx="1219200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257ED59-6A8A-4F91-A5CD-9843DA9D283F}"/>
              </a:ext>
            </a:extLst>
          </p:cNvPr>
          <p:cNvSpPr txBox="1"/>
          <p:nvPr/>
        </p:nvSpPr>
        <p:spPr>
          <a:xfrm>
            <a:off x="763359" y="1692579"/>
            <a:ext cx="4540161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высить результаты, чтобы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0D66BD-8631-4D67-9D74-0D76F3EDB0B6}"/>
              </a:ext>
            </a:extLst>
          </p:cNvPr>
          <p:cNvSpPr txBox="1"/>
          <p:nvPr/>
        </p:nvSpPr>
        <p:spPr>
          <a:xfrm>
            <a:off x="763360" y="2118626"/>
            <a:ext cx="92218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пределить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и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иоритезировать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огласовать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и по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72187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u_z.bKQpyFTVrazzgep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GF Purple">
      <a:dk1>
        <a:srgbClr val="404040"/>
      </a:dk1>
      <a:lt1>
        <a:sysClr val="window" lastClr="FFFFFF"/>
      </a:lt1>
      <a:dk2>
        <a:srgbClr val="F0EAF0"/>
      </a:dk2>
      <a:lt2>
        <a:srgbClr val="6E2C6B"/>
      </a:lt2>
      <a:accent1>
        <a:srgbClr val="CBB6CB"/>
      </a:accent1>
      <a:accent2>
        <a:srgbClr val="A682A5"/>
      </a:accent2>
      <a:accent3>
        <a:srgbClr val="895887"/>
      </a:accent3>
      <a:accent4>
        <a:srgbClr val="FF7F45"/>
      </a:accent4>
      <a:accent5>
        <a:srgbClr val="9A996E"/>
      </a:accent5>
      <a:accent6>
        <a:srgbClr val="00B9E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5.xml><?xml version="1.0" encoding="utf-8"?>
<a:theme xmlns:a="http://schemas.openxmlformats.org/drawingml/2006/main" name="5_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6.xml><?xml version="1.0" encoding="utf-8"?>
<a:theme xmlns:a="http://schemas.openxmlformats.org/drawingml/2006/main" name="4_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7.xml><?xml version="1.0" encoding="utf-8"?>
<a:theme xmlns:a="http://schemas.openxmlformats.org/drawingml/2006/main" name="6_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31ac75f-7eb6-457a-9922-de3fc0f7fe59">D3ESYR4ZQFJH-20-37970</_dlc_DocId>
    <_dlc_DocIdUrl xmlns="131ac75f-7eb6-457a-9922-de3fc0f7fe59">
      <Url>https://external.theglobalfund.org/sites/IFORMS/ccms/_layouts/15/DocIdRedir.aspx?ID=D3ESYR4ZQFJH-20-37970</Url>
      <Description>D3ESYR4ZQFJH-20-3797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79E22FD9A0F46B23FCA0F79451077" ma:contentTypeVersion="32" ma:contentTypeDescription="Create a new document." ma:contentTypeScope="" ma:versionID="f70776793667afc8be2264b9e59698b5">
  <xsd:schema xmlns:xsd="http://www.w3.org/2001/XMLSchema" xmlns:xs="http://www.w3.org/2001/XMLSchema" xmlns:p="http://schemas.microsoft.com/office/2006/metadata/properties" xmlns:ns2="131ac75f-7eb6-457a-9922-de3fc0f7fe59" targetNamespace="http://schemas.microsoft.com/office/2006/metadata/properties" ma:root="true" ma:fieldsID="2b9da4162887d5804fb44853bdc48b01" ns2:_="">
    <xsd:import namespace="131ac75f-7eb6-457a-9922-de3fc0f7fe59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ac75f-7eb6-457a-9922-de3fc0f7fe5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C2F49D-48C0-4408-81F1-7A72514172D5}">
  <ds:schemaRefs>
    <ds:schemaRef ds:uri="http://purl.org/dc/elements/1.1/"/>
    <ds:schemaRef ds:uri="http://purl.org/dc/terms/"/>
    <ds:schemaRef ds:uri="678cb6b0-ae3a-4210-a1b1-d0020c0aba52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d9e7521d-fd52-4871-aeef-c2571245f879"/>
    <ds:schemaRef ds:uri="http://schemas.microsoft.com/office/2006/metadata/properties"/>
    <ds:schemaRef ds:uri="http://www.w3.org/XML/1998/namespace"/>
    <ds:schemaRef ds:uri="131ac75f-7eb6-457a-9922-de3fc0f7fe59"/>
  </ds:schemaRefs>
</ds:datastoreItem>
</file>

<file path=customXml/itemProps2.xml><?xml version="1.0" encoding="utf-8"?>
<ds:datastoreItem xmlns:ds="http://schemas.openxmlformats.org/officeDocument/2006/customXml" ds:itemID="{B40655B1-D997-410A-B529-0044378969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31ac75f-7eb6-457a-9922-de3fc0f7fe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2D98431-02CA-4202-8014-8E630A679C3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E0031CC-C022-468B-A3BF-41A775ED8A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05</TotalTime>
  <Words>1349</Words>
  <Application>Microsoft Macintosh PowerPoint</Application>
  <PresentationFormat>Широкоэкранный</PresentationFormat>
  <Paragraphs>226</Paragraphs>
  <Slides>20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4" baseType="lpstr">
      <vt:lpstr>MS Gothic</vt:lpstr>
      <vt:lpstr>Arial</vt:lpstr>
      <vt:lpstr>Calibri</vt:lpstr>
      <vt:lpstr>Calibri Light</vt:lpstr>
      <vt:lpstr>Open Sans</vt:lpstr>
      <vt:lpstr>Times New Roman</vt:lpstr>
      <vt:lpstr>office theme</vt:lpstr>
      <vt:lpstr>1_Office Theme</vt:lpstr>
      <vt:lpstr>2_Office Theme</vt:lpstr>
      <vt:lpstr>3_Office Theme</vt:lpstr>
      <vt:lpstr>5_Office Theme</vt:lpstr>
      <vt:lpstr>4_Office Theme</vt:lpstr>
      <vt:lpstr>6_Office Theme</vt:lpstr>
      <vt:lpstr>think-cell Slide</vt:lpstr>
      <vt:lpstr>Вводный курс: проект «Развитие СКК»  (СКК Казахстан)</vt:lpstr>
      <vt:lpstr>План</vt:lpstr>
      <vt:lpstr>Начнем с короткого вступительного видеосюжета об эволюции СКК в направлении от лидирующей роли Глобального фонда</vt:lpstr>
      <vt:lpstr>Что означает «Развитие СКК»?</vt:lpstr>
      <vt:lpstr>Мероприятия, направленные на развитие, охватывают четыре основные сферы</vt:lpstr>
      <vt:lpstr>Что включает понятие «Развитие СКК»?</vt:lpstr>
      <vt:lpstr>Какие сроки?</vt:lpstr>
      <vt:lpstr>План</vt:lpstr>
      <vt:lpstr>Пороговые результаты дают возможность определить приоритетные сферы в целях повышения эффективности</vt:lpstr>
      <vt:lpstr>Пороговые результаты основаны на анализе трех источников данных</vt:lpstr>
      <vt:lpstr>Пороговые результаты СКК Казахстан - 2021</vt:lpstr>
      <vt:lpstr>Позиционирование – это путь, ведущий к устойчивому  управлению в области здравоохранения</vt:lpstr>
      <vt:lpstr>Презентация PowerPoint</vt:lpstr>
      <vt:lpstr>Надзор направлен на основные финансовые, программные и управленческие аспекты инвестиций в целях коллективного повышения эффективности </vt:lpstr>
      <vt:lpstr>Презентация PowerPoint</vt:lpstr>
      <vt:lpstr>Порог определяет, на чем СКК фокусирует свою среднесрочную стратегию</vt:lpstr>
      <vt:lpstr>План</vt:lpstr>
      <vt:lpstr>Дальнейшие действия </vt:lpstr>
      <vt:lpstr>Ресурсы для СКК</vt:lpstr>
      <vt:lpstr>Какова роль члена СКК?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ly Hughes</dc:creator>
  <cp:lastModifiedBy>Microsoft Office User</cp:lastModifiedBy>
  <cp:revision>408</cp:revision>
  <cp:lastPrinted>2020-10-13T16:20:36Z</cp:lastPrinted>
  <dcterms:created xsi:type="dcterms:W3CDTF">2020-09-21T09:51:37Z</dcterms:created>
  <dcterms:modified xsi:type="dcterms:W3CDTF">2021-04-15T10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4926eb43-9c0e-4a53-90b9-795de0aa62dd</vt:lpwstr>
  </property>
  <property fmtid="{D5CDD505-2E9C-101B-9397-08002B2CF9AE}" pid="3" name="ContentTypeId">
    <vt:lpwstr>0x01010004679E22FD9A0F46B23FCA0F79451077</vt:lpwstr>
  </property>
  <property fmtid="{D5CDD505-2E9C-101B-9397-08002B2CF9AE}" pid="4" name="PresentationID">
    <vt:lpwstr>b284d8d0169e4dca8575891fae7a7af3</vt:lpwstr>
  </property>
  <property fmtid="{D5CDD505-2E9C-101B-9397-08002B2CF9AE}" pid="5" name="IsExistingPresentation">
    <vt:lpwstr>Yes</vt:lpwstr>
  </property>
  <property fmtid="{D5CDD505-2E9C-101B-9397-08002B2CF9AE}" pid="6" name="PresentationVersion">
    <vt:lpwstr>2.0</vt:lpwstr>
  </property>
</Properties>
</file>